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4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5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6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7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23" r:id="rId4"/>
    <p:sldMasterId id="2147483969" r:id="rId5"/>
    <p:sldMasterId id="2147484005" r:id="rId6"/>
    <p:sldMasterId id="2147484052" r:id="rId7"/>
    <p:sldMasterId id="2147484100" r:id="rId8"/>
    <p:sldMasterId id="2147484155" r:id="rId9"/>
    <p:sldMasterId id="2147484210" r:id="rId10"/>
  </p:sldMasterIdLst>
  <p:notesMasterIdLst>
    <p:notesMasterId r:id="rId33"/>
  </p:notesMasterIdLst>
  <p:handoutMasterIdLst>
    <p:handoutMasterId r:id="rId34"/>
  </p:handoutMasterIdLst>
  <p:sldIdLst>
    <p:sldId id="2711" r:id="rId11"/>
    <p:sldId id="2142534384" r:id="rId12"/>
    <p:sldId id="2142534381" r:id="rId13"/>
    <p:sldId id="2142534257" r:id="rId14"/>
    <p:sldId id="2142534391" r:id="rId15"/>
    <p:sldId id="2142534361" r:id="rId16"/>
    <p:sldId id="2142534246" r:id="rId17"/>
    <p:sldId id="2142534387" r:id="rId18"/>
    <p:sldId id="2142534249" r:id="rId19"/>
    <p:sldId id="2142534388" r:id="rId20"/>
    <p:sldId id="2142534252" r:id="rId21"/>
    <p:sldId id="2142534389" r:id="rId22"/>
    <p:sldId id="2142534254" r:id="rId23"/>
    <p:sldId id="2142534392" r:id="rId24"/>
    <p:sldId id="2142534256" r:id="rId25"/>
    <p:sldId id="2142534390" r:id="rId26"/>
    <p:sldId id="2142534255" r:id="rId27"/>
    <p:sldId id="2142534393" r:id="rId28"/>
    <p:sldId id="2142534394" r:id="rId29"/>
    <p:sldId id="2142534396" r:id="rId30"/>
    <p:sldId id="2142534395" r:id="rId31"/>
    <p:sldId id="2142533693" r:id="rId32"/>
  </p:sldIdLst>
  <p:sldSz cx="12192000" cy="6858000"/>
  <p:notesSz cx="6735763" cy="9866313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C8D6A2B-3E14-44CE-AB5B-1BC079511C78}">
          <p14:sldIdLst>
            <p14:sldId id="2711"/>
            <p14:sldId id="2142534384"/>
            <p14:sldId id="2142534381"/>
            <p14:sldId id="2142534257"/>
            <p14:sldId id="2142534391"/>
            <p14:sldId id="2142534361"/>
            <p14:sldId id="2142534246"/>
            <p14:sldId id="2142534387"/>
            <p14:sldId id="2142534249"/>
            <p14:sldId id="2142534388"/>
            <p14:sldId id="2142534252"/>
            <p14:sldId id="2142534389"/>
            <p14:sldId id="2142534254"/>
            <p14:sldId id="2142534392"/>
            <p14:sldId id="2142534256"/>
            <p14:sldId id="2142534390"/>
            <p14:sldId id="2142534255"/>
            <p14:sldId id="2142534393"/>
            <p14:sldId id="2142534394"/>
            <p14:sldId id="2142534396"/>
            <p14:sldId id="2142534395"/>
            <p14:sldId id="214253369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Holger Teufel" initials="HT" lastIdx="6" clrIdx="6">
    <p:extLst>
      <p:ext uri="{19B8F6BF-5375-455C-9EA6-DF929625EA0E}">
        <p15:presenceInfo xmlns:p15="http://schemas.microsoft.com/office/powerpoint/2012/main" userId="S::a45107@dekra.org::422705bb-7528-490e-9be5-91032b7fe26e" providerId="AD"/>
      </p:ext>
    </p:extLst>
  </p:cmAuthor>
  <p:cmAuthor id="1" name="Cevin John Hoffmann" initials="CJH" lastIdx="1" clrIdx="0">
    <p:extLst>
      <p:ext uri="{19B8F6BF-5375-455C-9EA6-DF929625EA0E}">
        <p15:presenceInfo xmlns:p15="http://schemas.microsoft.com/office/powerpoint/2012/main" userId="S-1-5-21-4220481026-135224086-419363850-18215" providerId="AD"/>
      </p:ext>
    </p:extLst>
  </p:cmAuthor>
  <p:cmAuthor id="8" name="Sean Davidson" initials="SD [2]" lastIdx="12" clrIdx="7">
    <p:extLst>
      <p:ext uri="{19B8F6BF-5375-455C-9EA6-DF929625EA0E}">
        <p15:presenceInfo xmlns:p15="http://schemas.microsoft.com/office/powerpoint/2012/main" userId="S::a311686@dekra.org::b6c426e2-9d44-49d9-970d-87f91578d5a3" providerId="AD"/>
      </p:ext>
    </p:extLst>
  </p:cmAuthor>
  <p:cmAuthor id="2" name="Sean Davidson" initials="SD" lastIdx="100" clrIdx="1">
    <p:extLst>
      <p:ext uri="{19B8F6BF-5375-455C-9EA6-DF929625EA0E}">
        <p15:presenceInfo xmlns:p15="http://schemas.microsoft.com/office/powerpoint/2012/main" userId="Sean Davidson" providerId="None"/>
      </p:ext>
    </p:extLst>
  </p:cmAuthor>
  <p:cmAuthor id="9" name="Rudi Grom" initials="RG" lastIdx="5" clrIdx="8">
    <p:extLst>
      <p:ext uri="{19B8F6BF-5375-455C-9EA6-DF929625EA0E}">
        <p15:presenceInfo xmlns:p15="http://schemas.microsoft.com/office/powerpoint/2012/main" userId="S::a34714@dekra.org::b2f96823-8aef-414a-a5f0-580667477c8a" providerId="AD"/>
      </p:ext>
    </p:extLst>
  </p:cmAuthor>
  <p:cmAuthor id="3" name="SEBASTIEN CAZARETH" initials="SC" lastIdx="9" clrIdx="2">
    <p:extLst>
      <p:ext uri="{19B8F6BF-5375-455C-9EA6-DF929625EA0E}">
        <p15:presenceInfo xmlns:p15="http://schemas.microsoft.com/office/powerpoint/2012/main" userId="S::A405223@dekra-automotivesolutions.com::be5c7768-f06a-4b49-b632-2c5713cc836e" providerId="AD"/>
      </p:ext>
    </p:extLst>
  </p:cmAuthor>
  <p:cmAuthor id="10" name="Remco Mol" initials="RM" lastIdx="3" clrIdx="9">
    <p:extLst>
      <p:ext uri="{19B8F6BF-5375-455C-9EA6-DF929625EA0E}">
        <p15:presenceInfo xmlns:p15="http://schemas.microsoft.com/office/powerpoint/2012/main" userId="S::A109208@dekra.org::c13b04c65b932780" providerId="AD"/>
      </p:ext>
    </p:extLst>
  </p:cmAuthor>
  <p:cmAuthor id="4" name="Gavin Brown" initials="GB" lastIdx="38" clrIdx="3">
    <p:extLst>
      <p:ext uri="{19B8F6BF-5375-455C-9EA6-DF929625EA0E}">
        <p15:presenceInfo xmlns:p15="http://schemas.microsoft.com/office/powerpoint/2012/main" userId="S::a47087@dekra.org::0dd1685e-ea29-4755-822a-e70baefeeb12" providerId="AD"/>
      </p:ext>
    </p:extLst>
  </p:cmAuthor>
  <p:cmAuthor id="11" name="Elisa Annete Chacón Soto" initials="EACS" lastIdx="1" clrIdx="10">
    <p:extLst>
      <p:ext uri="{19B8F6BF-5375-455C-9EA6-DF929625EA0E}">
        <p15:presenceInfo xmlns:p15="http://schemas.microsoft.com/office/powerpoint/2012/main" userId="S::A197946@dekra.org::a06840d1-6208-41a3-aa5f-7b979946e3c0" providerId="AD"/>
      </p:ext>
    </p:extLst>
  </p:cmAuthor>
  <p:cmAuthor id="5" name="Mario Urso" initials="MU" lastIdx="6" clrIdx="4">
    <p:extLst>
      <p:ext uri="{19B8F6BF-5375-455C-9EA6-DF929625EA0E}">
        <p15:presenceInfo xmlns:p15="http://schemas.microsoft.com/office/powerpoint/2012/main" userId="S::a280039@dekra.org::7902e313-29ec-4dbb-b1df-1f0277a2672c" providerId="AD"/>
      </p:ext>
    </p:extLst>
  </p:cmAuthor>
  <p:cmAuthor id="6" name="Stefan Edevåg" initials="SE" lastIdx="4" clrIdx="5">
    <p:extLst>
      <p:ext uri="{19B8F6BF-5375-455C-9EA6-DF929625EA0E}">
        <p15:presenceInfo xmlns:p15="http://schemas.microsoft.com/office/powerpoint/2012/main" userId="S::A168006@dekra.se::e653f0a7-e89a-4a4d-a0fd-df04e9d01f1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9D9D"/>
    <a:srgbClr val="FF3399"/>
    <a:srgbClr val="B2D3FC"/>
    <a:srgbClr val="996633"/>
    <a:srgbClr val="999999"/>
    <a:srgbClr val="3A443D"/>
    <a:srgbClr val="65194C"/>
    <a:srgbClr val="CC9B00"/>
    <a:srgbClr val="24771B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38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46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8EAC75-F6D8-49A4-8C7F-2B8575D8581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051AE341-6906-429E-9E36-B5CED49C3CC8}">
      <dgm:prSet phldrT="[Texto]" custT="1"/>
      <dgm:spPr>
        <a:solidFill>
          <a:srgbClr val="0070C0"/>
        </a:solidFill>
      </dgm:spPr>
      <dgm:t>
        <a:bodyPr/>
        <a:lstStyle/>
        <a:p>
          <a:r>
            <a:rPr lang="es-ES" sz="1200" dirty="0"/>
            <a:t>VENDORS COST ESTIMATION</a:t>
          </a:r>
        </a:p>
      </dgm:t>
    </dgm:pt>
    <dgm:pt modelId="{2D74D771-BD5B-4684-8C6C-B48C9FE5B28E}" type="parTrans" cxnId="{0A64F4E6-B2AA-49BA-9EBB-5B9E470786A4}">
      <dgm:prSet/>
      <dgm:spPr/>
      <dgm:t>
        <a:bodyPr/>
        <a:lstStyle/>
        <a:p>
          <a:endParaRPr lang="es-ES"/>
        </a:p>
      </dgm:t>
    </dgm:pt>
    <dgm:pt modelId="{FBB8F04C-CF4F-4D1B-BCB2-7D6372CCE2F4}" type="sibTrans" cxnId="{0A64F4E6-B2AA-49BA-9EBB-5B9E470786A4}">
      <dgm:prSet/>
      <dgm:spPr/>
      <dgm:t>
        <a:bodyPr/>
        <a:lstStyle/>
        <a:p>
          <a:endParaRPr lang="es-ES"/>
        </a:p>
      </dgm:t>
    </dgm:pt>
    <dgm:pt modelId="{AEA4D7B0-7562-4408-9EBE-E65A4A3D33D2}">
      <dgm:prSet phldrT="[Texto]" custT="1"/>
      <dgm:spPr>
        <a:solidFill>
          <a:srgbClr val="B2D3FC"/>
        </a:solidFill>
      </dgm:spPr>
      <dgm:t>
        <a:bodyPr/>
        <a:lstStyle/>
        <a:p>
          <a:r>
            <a:rPr lang="es-ES" sz="1200" dirty="0"/>
            <a:t>PERT EFFORT ESTIMATION</a:t>
          </a:r>
        </a:p>
      </dgm:t>
    </dgm:pt>
    <dgm:pt modelId="{8D4B01FE-AEFB-4DCF-A88A-E141E322890C}" type="parTrans" cxnId="{632DD9EA-BC4A-49A6-81C0-F4C26B8C3B17}">
      <dgm:prSet/>
      <dgm:spPr/>
      <dgm:t>
        <a:bodyPr/>
        <a:lstStyle/>
        <a:p>
          <a:endParaRPr lang="es-ES"/>
        </a:p>
      </dgm:t>
    </dgm:pt>
    <dgm:pt modelId="{985619F8-C714-4A40-A2FF-E8C4A3708956}" type="sibTrans" cxnId="{632DD9EA-BC4A-49A6-81C0-F4C26B8C3B17}">
      <dgm:prSet/>
      <dgm:spPr/>
      <dgm:t>
        <a:bodyPr/>
        <a:lstStyle/>
        <a:p>
          <a:endParaRPr lang="es-ES"/>
        </a:p>
      </dgm:t>
    </dgm:pt>
    <dgm:pt modelId="{59407A67-BE4E-4A6D-8212-72066176FF92}">
      <dgm:prSet phldrT="[Texto]" custT="1"/>
      <dgm:spPr>
        <a:solidFill>
          <a:srgbClr val="FF3399"/>
        </a:solidFill>
      </dgm:spPr>
      <dgm:t>
        <a:bodyPr/>
        <a:lstStyle/>
        <a:p>
          <a:r>
            <a:rPr lang="es-ES" sz="1200" dirty="0"/>
            <a:t>USE CASE POINT EFFORT ESTIMATION</a:t>
          </a:r>
        </a:p>
      </dgm:t>
    </dgm:pt>
    <dgm:pt modelId="{C7F46367-1866-4293-BBBC-7AA4014B1CF6}" type="parTrans" cxnId="{FC1ABAF5-0914-42E5-A0D2-6E3DC272B8B4}">
      <dgm:prSet/>
      <dgm:spPr/>
      <dgm:t>
        <a:bodyPr/>
        <a:lstStyle/>
        <a:p>
          <a:endParaRPr lang="es-ES"/>
        </a:p>
      </dgm:t>
    </dgm:pt>
    <dgm:pt modelId="{8BB736F1-102E-4F07-A6BF-2A623FFA1A89}" type="sibTrans" cxnId="{FC1ABAF5-0914-42E5-A0D2-6E3DC272B8B4}">
      <dgm:prSet/>
      <dgm:spPr/>
      <dgm:t>
        <a:bodyPr/>
        <a:lstStyle/>
        <a:p>
          <a:endParaRPr lang="es-ES"/>
        </a:p>
      </dgm:t>
    </dgm:pt>
    <dgm:pt modelId="{6E2717F7-6B1C-4385-A6D3-9CCA03564D68}">
      <dgm:prSet phldrT="[Texto]" custT="1"/>
      <dgm:spPr>
        <a:solidFill>
          <a:srgbClr val="92D050"/>
        </a:solidFill>
      </dgm:spPr>
      <dgm:t>
        <a:bodyPr/>
        <a:lstStyle/>
        <a:p>
          <a:r>
            <a:rPr lang="es-ES" sz="1200" dirty="0"/>
            <a:t>AGILE - EPIC POINT EFFORT ESTIMATION</a:t>
          </a:r>
        </a:p>
      </dgm:t>
    </dgm:pt>
    <dgm:pt modelId="{76000A23-0E5B-42C4-9E6A-4F47B14B65BC}" type="parTrans" cxnId="{56EE9A65-CF8C-43A8-86A8-484A7AFDC6AA}">
      <dgm:prSet/>
      <dgm:spPr/>
      <dgm:t>
        <a:bodyPr/>
        <a:lstStyle/>
        <a:p>
          <a:endParaRPr lang="es-ES"/>
        </a:p>
      </dgm:t>
    </dgm:pt>
    <dgm:pt modelId="{1EF574FA-55F3-424E-9587-624BD196CF62}" type="sibTrans" cxnId="{56EE9A65-CF8C-43A8-86A8-484A7AFDC6AA}">
      <dgm:prSet/>
      <dgm:spPr/>
      <dgm:t>
        <a:bodyPr/>
        <a:lstStyle/>
        <a:p>
          <a:endParaRPr lang="es-ES"/>
        </a:p>
      </dgm:t>
    </dgm:pt>
    <dgm:pt modelId="{F874C182-BC7C-46FB-A362-B947E7218E85}" type="pres">
      <dgm:prSet presAssocID="{6D8EAC75-F6D8-49A4-8C7F-2B8575D8581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DC3571C-5BFB-4851-92EE-8871607A9055}" type="pres">
      <dgm:prSet presAssocID="{051AE341-6906-429E-9E36-B5CED49C3CC8}" presName="centerShape" presStyleLbl="node0" presStyleIdx="0" presStyleCnt="1"/>
      <dgm:spPr/>
    </dgm:pt>
    <dgm:pt modelId="{FDEED746-850F-4D9D-BCA1-5E216B19B8C6}" type="pres">
      <dgm:prSet presAssocID="{8D4B01FE-AEFB-4DCF-A88A-E141E322890C}" presName="parTrans" presStyleLbl="bgSibTrans2D1" presStyleIdx="0" presStyleCnt="3"/>
      <dgm:spPr/>
    </dgm:pt>
    <dgm:pt modelId="{2F6CC940-E556-41BC-91AE-EAB0ACF195A7}" type="pres">
      <dgm:prSet presAssocID="{AEA4D7B0-7562-4408-9EBE-E65A4A3D33D2}" presName="node" presStyleLbl="node1" presStyleIdx="0" presStyleCnt="3">
        <dgm:presLayoutVars>
          <dgm:bulletEnabled val="1"/>
        </dgm:presLayoutVars>
      </dgm:prSet>
      <dgm:spPr/>
    </dgm:pt>
    <dgm:pt modelId="{D0613000-F80C-4988-A4B1-B3D92B9B263C}" type="pres">
      <dgm:prSet presAssocID="{C7F46367-1866-4293-BBBC-7AA4014B1CF6}" presName="parTrans" presStyleLbl="bgSibTrans2D1" presStyleIdx="1" presStyleCnt="3"/>
      <dgm:spPr/>
    </dgm:pt>
    <dgm:pt modelId="{EF6991D2-9F55-43E7-A673-BEF985797660}" type="pres">
      <dgm:prSet presAssocID="{59407A67-BE4E-4A6D-8212-72066176FF92}" presName="node" presStyleLbl="node1" presStyleIdx="1" presStyleCnt="3">
        <dgm:presLayoutVars>
          <dgm:bulletEnabled val="1"/>
        </dgm:presLayoutVars>
      </dgm:prSet>
      <dgm:spPr/>
    </dgm:pt>
    <dgm:pt modelId="{415BDE20-BEC9-4794-9BE9-1C27E7F6FEA6}" type="pres">
      <dgm:prSet presAssocID="{76000A23-0E5B-42C4-9E6A-4F47B14B65BC}" presName="parTrans" presStyleLbl="bgSibTrans2D1" presStyleIdx="2" presStyleCnt="3"/>
      <dgm:spPr/>
    </dgm:pt>
    <dgm:pt modelId="{3040A678-EA9E-4A77-A446-34F52D8BDF7B}" type="pres">
      <dgm:prSet presAssocID="{6E2717F7-6B1C-4385-A6D3-9CCA03564D68}" presName="node" presStyleLbl="node1" presStyleIdx="2" presStyleCnt="3">
        <dgm:presLayoutVars>
          <dgm:bulletEnabled val="1"/>
        </dgm:presLayoutVars>
      </dgm:prSet>
      <dgm:spPr/>
    </dgm:pt>
  </dgm:ptLst>
  <dgm:cxnLst>
    <dgm:cxn modelId="{821A7135-698E-4020-AC55-455AFA7DE9FD}" type="presOf" srcId="{6D8EAC75-F6D8-49A4-8C7F-2B8575D8581B}" destId="{F874C182-BC7C-46FB-A362-B947E7218E85}" srcOrd="0" destOrd="0" presId="urn:microsoft.com/office/officeart/2005/8/layout/radial4"/>
    <dgm:cxn modelId="{56EE9A65-CF8C-43A8-86A8-484A7AFDC6AA}" srcId="{051AE341-6906-429E-9E36-B5CED49C3CC8}" destId="{6E2717F7-6B1C-4385-A6D3-9CCA03564D68}" srcOrd="2" destOrd="0" parTransId="{76000A23-0E5B-42C4-9E6A-4F47B14B65BC}" sibTransId="{1EF574FA-55F3-424E-9587-624BD196CF62}"/>
    <dgm:cxn modelId="{758E0246-C592-4C2E-8441-C05176D3C917}" type="presOf" srcId="{8D4B01FE-AEFB-4DCF-A88A-E141E322890C}" destId="{FDEED746-850F-4D9D-BCA1-5E216B19B8C6}" srcOrd="0" destOrd="0" presId="urn:microsoft.com/office/officeart/2005/8/layout/radial4"/>
    <dgm:cxn modelId="{04889A46-BFF4-498A-98FD-30D167AAC880}" type="presOf" srcId="{AEA4D7B0-7562-4408-9EBE-E65A4A3D33D2}" destId="{2F6CC940-E556-41BC-91AE-EAB0ACF195A7}" srcOrd="0" destOrd="0" presId="urn:microsoft.com/office/officeart/2005/8/layout/radial4"/>
    <dgm:cxn modelId="{42D2E091-666F-43A6-B549-6B7F977A72D2}" type="presOf" srcId="{76000A23-0E5B-42C4-9E6A-4F47B14B65BC}" destId="{415BDE20-BEC9-4794-9BE9-1C27E7F6FEA6}" srcOrd="0" destOrd="0" presId="urn:microsoft.com/office/officeart/2005/8/layout/radial4"/>
    <dgm:cxn modelId="{9AA8709D-E3A3-4D6D-A720-F73A90076F15}" type="presOf" srcId="{6E2717F7-6B1C-4385-A6D3-9CCA03564D68}" destId="{3040A678-EA9E-4A77-A446-34F52D8BDF7B}" srcOrd="0" destOrd="0" presId="urn:microsoft.com/office/officeart/2005/8/layout/radial4"/>
    <dgm:cxn modelId="{006107B6-B4FD-4EDC-BEF0-99EE9876CDB3}" type="presOf" srcId="{C7F46367-1866-4293-BBBC-7AA4014B1CF6}" destId="{D0613000-F80C-4988-A4B1-B3D92B9B263C}" srcOrd="0" destOrd="0" presId="urn:microsoft.com/office/officeart/2005/8/layout/radial4"/>
    <dgm:cxn modelId="{340286BB-311D-4214-8F5C-B4F995487924}" type="presOf" srcId="{59407A67-BE4E-4A6D-8212-72066176FF92}" destId="{EF6991D2-9F55-43E7-A673-BEF985797660}" srcOrd="0" destOrd="0" presId="urn:microsoft.com/office/officeart/2005/8/layout/radial4"/>
    <dgm:cxn modelId="{003E60BE-0FD4-443B-B938-2217D88B73FC}" type="presOf" srcId="{051AE341-6906-429E-9E36-B5CED49C3CC8}" destId="{ADC3571C-5BFB-4851-92EE-8871607A9055}" srcOrd="0" destOrd="0" presId="urn:microsoft.com/office/officeart/2005/8/layout/radial4"/>
    <dgm:cxn modelId="{0A64F4E6-B2AA-49BA-9EBB-5B9E470786A4}" srcId="{6D8EAC75-F6D8-49A4-8C7F-2B8575D8581B}" destId="{051AE341-6906-429E-9E36-B5CED49C3CC8}" srcOrd="0" destOrd="0" parTransId="{2D74D771-BD5B-4684-8C6C-B48C9FE5B28E}" sibTransId="{FBB8F04C-CF4F-4D1B-BCB2-7D6372CCE2F4}"/>
    <dgm:cxn modelId="{632DD9EA-BC4A-49A6-81C0-F4C26B8C3B17}" srcId="{051AE341-6906-429E-9E36-B5CED49C3CC8}" destId="{AEA4D7B0-7562-4408-9EBE-E65A4A3D33D2}" srcOrd="0" destOrd="0" parTransId="{8D4B01FE-AEFB-4DCF-A88A-E141E322890C}" sibTransId="{985619F8-C714-4A40-A2FF-E8C4A3708956}"/>
    <dgm:cxn modelId="{FC1ABAF5-0914-42E5-A0D2-6E3DC272B8B4}" srcId="{051AE341-6906-429E-9E36-B5CED49C3CC8}" destId="{59407A67-BE4E-4A6D-8212-72066176FF92}" srcOrd="1" destOrd="0" parTransId="{C7F46367-1866-4293-BBBC-7AA4014B1CF6}" sibTransId="{8BB736F1-102E-4F07-A6BF-2A623FFA1A89}"/>
    <dgm:cxn modelId="{DE206937-B66A-486D-BB20-D7475A9EF6E0}" type="presParOf" srcId="{F874C182-BC7C-46FB-A362-B947E7218E85}" destId="{ADC3571C-5BFB-4851-92EE-8871607A9055}" srcOrd="0" destOrd="0" presId="urn:microsoft.com/office/officeart/2005/8/layout/radial4"/>
    <dgm:cxn modelId="{A57158EB-8FF2-49BC-A1C7-CE1190350CCB}" type="presParOf" srcId="{F874C182-BC7C-46FB-A362-B947E7218E85}" destId="{FDEED746-850F-4D9D-BCA1-5E216B19B8C6}" srcOrd="1" destOrd="0" presId="urn:microsoft.com/office/officeart/2005/8/layout/radial4"/>
    <dgm:cxn modelId="{0142F47F-D18B-42B0-A920-27A1E4ED284D}" type="presParOf" srcId="{F874C182-BC7C-46FB-A362-B947E7218E85}" destId="{2F6CC940-E556-41BC-91AE-EAB0ACF195A7}" srcOrd="2" destOrd="0" presId="urn:microsoft.com/office/officeart/2005/8/layout/radial4"/>
    <dgm:cxn modelId="{E136EA6D-9897-4393-8DF8-EE93CF612534}" type="presParOf" srcId="{F874C182-BC7C-46FB-A362-B947E7218E85}" destId="{D0613000-F80C-4988-A4B1-B3D92B9B263C}" srcOrd="3" destOrd="0" presId="urn:microsoft.com/office/officeart/2005/8/layout/radial4"/>
    <dgm:cxn modelId="{65F625C4-55E9-4F0B-B4A0-58AE884253CB}" type="presParOf" srcId="{F874C182-BC7C-46FB-A362-B947E7218E85}" destId="{EF6991D2-9F55-43E7-A673-BEF985797660}" srcOrd="4" destOrd="0" presId="urn:microsoft.com/office/officeart/2005/8/layout/radial4"/>
    <dgm:cxn modelId="{D31A8708-96FE-4DDC-8C4F-DBF043373EF5}" type="presParOf" srcId="{F874C182-BC7C-46FB-A362-B947E7218E85}" destId="{415BDE20-BEC9-4794-9BE9-1C27E7F6FEA6}" srcOrd="5" destOrd="0" presId="urn:microsoft.com/office/officeart/2005/8/layout/radial4"/>
    <dgm:cxn modelId="{A11EE7DF-3417-4064-878F-B2AEF9ADB2D5}" type="presParOf" srcId="{F874C182-BC7C-46FB-A362-B947E7218E85}" destId="{3040A678-EA9E-4A77-A446-34F52D8BDF7B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16678E1-614E-460E-8695-362CF969A771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2A43699-DF91-49BA-ABAC-9926815A1066}">
      <dgm:prSet phldrT="[Texto]" custT="1"/>
      <dgm:spPr>
        <a:solidFill>
          <a:srgbClr val="996633"/>
        </a:solidFill>
      </dgm:spPr>
      <dgm:t>
        <a:bodyPr/>
        <a:lstStyle/>
        <a:p>
          <a:r>
            <a:rPr lang="es-ES" sz="1000" dirty="0"/>
            <a:t>Performance </a:t>
          </a:r>
          <a:r>
            <a:rPr lang="es-ES" sz="1000" dirty="0" err="1"/>
            <a:t>is</a:t>
          </a:r>
          <a:r>
            <a:rPr lang="es-ES" sz="1000" dirty="0"/>
            <a:t> a Key?</a:t>
          </a:r>
        </a:p>
      </dgm:t>
    </dgm:pt>
    <dgm:pt modelId="{49EDA64B-9794-438A-A99B-6B62BE2B932D}" type="parTrans" cxnId="{B27C6D3C-79C4-477D-8877-922AC5CF44B0}">
      <dgm:prSet/>
      <dgm:spPr/>
      <dgm:t>
        <a:bodyPr/>
        <a:lstStyle/>
        <a:p>
          <a:endParaRPr lang="es-ES" sz="1000"/>
        </a:p>
      </dgm:t>
    </dgm:pt>
    <dgm:pt modelId="{21EF2744-0526-44AB-B679-9BB22B829610}" type="sibTrans" cxnId="{B27C6D3C-79C4-477D-8877-922AC5CF44B0}">
      <dgm:prSet custT="1"/>
      <dgm:spPr/>
      <dgm:t>
        <a:bodyPr/>
        <a:lstStyle/>
        <a:p>
          <a:endParaRPr lang="es-ES" sz="1000"/>
        </a:p>
      </dgm:t>
    </dgm:pt>
    <dgm:pt modelId="{6A02FAFF-5039-4E2F-898E-6E5DA253C7B3}">
      <dgm:prSet phldrT="[Texto]" custT="1"/>
      <dgm:spPr>
        <a:solidFill>
          <a:srgbClr val="C00000"/>
        </a:solidFill>
      </dgm:spPr>
      <dgm:t>
        <a:bodyPr/>
        <a:lstStyle/>
        <a:p>
          <a:r>
            <a:rPr lang="es-ES" sz="1000" dirty="0" err="1"/>
            <a:t>Specific</a:t>
          </a:r>
          <a:r>
            <a:rPr lang="es-ES" sz="1000" dirty="0"/>
            <a:t> </a:t>
          </a:r>
          <a:r>
            <a:rPr lang="es-ES" sz="1000" dirty="0" err="1"/>
            <a:t>Platform</a:t>
          </a:r>
          <a:r>
            <a:rPr lang="es-ES" sz="1000" dirty="0"/>
            <a:t> / </a:t>
          </a:r>
          <a:r>
            <a:rPr lang="es-ES" sz="1000" dirty="0" err="1"/>
            <a:t>Devices</a:t>
          </a:r>
          <a:r>
            <a:rPr lang="es-ES" sz="1000" dirty="0"/>
            <a:t> </a:t>
          </a:r>
          <a:r>
            <a:rPr lang="es-ES" sz="1000" dirty="0" err="1"/>
            <a:t>Features</a:t>
          </a:r>
          <a:r>
            <a:rPr lang="es-ES" sz="1000" dirty="0"/>
            <a:t>?</a:t>
          </a:r>
        </a:p>
      </dgm:t>
    </dgm:pt>
    <dgm:pt modelId="{F90C6E84-88C7-4B81-A701-3F42CEB80BA6}" type="parTrans" cxnId="{CB190995-4BA7-46EA-9413-FF6EDD523A38}">
      <dgm:prSet/>
      <dgm:spPr/>
      <dgm:t>
        <a:bodyPr/>
        <a:lstStyle/>
        <a:p>
          <a:endParaRPr lang="es-ES" sz="1000"/>
        </a:p>
      </dgm:t>
    </dgm:pt>
    <dgm:pt modelId="{29BD8D6C-3BB2-4DCF-B62B-C0BF40650BC7}" type="sibTrans" cxnId="{CB190995-4BA7-46EA-9413-FF6EDD523A38}">
      <dgm:prSet custT="1"/>
      <dgm:spPr/>
      <dgm:t>
        <a:bodyPr/>
        <a:lstStyle/>
        <a:p>
          <a:endParaRPr lang="es-ES" sz="1000"/>
        </a:p>
      </dgm:t>
    </dgm:pt>
    <dgm:pt modelId="{342E87A3-9993-4B69-8639-519084FD4EAA}">
      <dgm:prSet phldrT="[Texto]" custT="1"/>
      <dgm:spPr>
        <a:solidFill>
          <a:srgbClr val="CC9B00"/>
        </a:solidFill>
      </dgm:spPr>
      <dgm:t>
        <a:bodyPr/>
        <a:lstStyle/>
        <a:p>
          <a:r>
            <a:rPr lang="es-ES" sz="1000" dirty="0"/>
            <a:t>Offline </a:t>
          </a:r>
          <a:r>
            <a:rPr lang="es-ES" sz="1000" dirty="0" err="1"/>
            <a:t>Cababilites</a:t>
          </a:r>
          <a:r>
            <a:rPr lang="es-ES" sz="1000" dirty="0"/>
            <a:t>?</a:t>
          </a:r>
        </a:p>
      </dgm:t>
    </dgm:pt>
    <dgm:pt modelId="{D57EDDAA-1152-4C38-AB37-82640A28A7C4}" type="parTrans" cxnId="{739B08A3-9271-47E6-84D2-C7130960A5F9}">
      <dgm:prSet/>
      <dgm:spPr/>
      <dgm:t>
        <a:bodyPr/>
        <a:lstStyle/>
        <a:p>
          <a:endParaRPr lang="es-ES" sz="1000"/>
        </a:p>
      </dgm:t>
    </dgm:pt>
    <dgm:pt modelId="{4F8F82E9-C6B6-4499-B094-AD96BD75BF4F}" type="sibTrans" cxnId="{739B08A3-9271-47E6-84D2-C7130960A5F9}">
      <dgm:prSet custT="1"/>
      <dgm:spPr/>
      <dgm:t>
        <a:bodyPr/>
        <a:lstStyle/>
        <a:p>
          <a:endParaRPr lang="es-ES" sz="1000"/>
        </a:p>
      </dgm:t>
    </dgm:pt>
    <dgm:pt modelId="{264561AD-009E-445E-9A68-2260A7376018}">
      <dgm:prSet phldrT="[Texto]" custT="1"/>
      <dgm:spPr>
        <a:solidFill>
          <a:srgbClr val="65194C"/>
        </a:solidFill>
      </dgm:spPr>
      <dgm:t>
        <a:bodyPr/>
        <a:lstStyle/>
        <a:p>
          <a:r>
            <a:rPr lang="es-ES" sz="1000" dirty="0" err="1"/>
            <a:t>Limited</a:t>
          </a:r>
          <a:r>
            <a:rPr lang="es-ES" sz="1000" dirty="0"/>
            <a:t> Budget?</a:t>
          </a:r>
        </a:p>
      </dgm:t>
    </dgm:pt>
    <dgm:pt modelId="{A4FDFF80-85DD-42BC-B15C-4236A0FF4F33}" type="parTrans" cxnId="{28873679-FA61-4AED-96E5-BBBA6A07C842}">
      <dgm:prSet/>
      <dgm:spPr/>
      <dgm:t>
        <a:bodyPr/>
        <a:lstStyle/>
        <a:p>
          <a:endParaRPr lang="es-ES" sz="1000"/>
        </a:p>
      </dgm:t>
    </dgm:pt>
    <dgm:pt modelId="{527A0905-B7AF-4A48-9D89-F12CC28F0F53}" type="sibTrans" cxnId="{28873679-FA61-4AED-96E5-BBBA6A07C842}">
      <dgm:prSet custT="1"/>
      <dgm:spPr/>
      <dgm:t>
        <a:bodyPr/>
        <a:lstStyle/>
        <a:p>
          <a:endParaRPr lang="es-ES" sz="1000"/>
        </a:p>
      </dgm:t>
    </dgm:pt>
    <dgm:pt modelId="{49D9E35C-EF99-40D1-8279-34D0883AC511}">
      <dgm:prSet phldrT="[Texto]" custT="1"/>
      <dgm:spPr>
        <a:solidFill>
          <a:srgbClr val="3A443D"/>
        </a:solidFill>
      </dgm:spPr>
      <dgm:t>
        <a:bodyPr/>
        <a:lstStyle/>
        <a:p>
          <a:r>
            <a:rPr lang="es-ES" sz="1000" dirty="0" err="1"/>
            <a:t>External</a:t>
          </a:r>
          <a:r>
            <a:rPr lang="es-ES" sz="1000" dirty="0"/>
            <a:t> </a:t>
          </a:r>
          <a:r>
            <a:rPr lang="es-ES" sz="1000" dirty="0" err="1"/>
            <a:t>Sharing</a:t>
          </a:r>
          <a:r>
            <a:rPr lang="es-ES" sz="1000" dirty="0"/>
            <a:t>?</a:t>
          </a:r>
        </a:p>
      </dgm:t>
    </dgm:pt>
    <dgm:pt modelId="{E3AF73D9-1C46-44A5-AA36-B0E78F76B285}" type="parTrans" cxnId="{175EBC8C-EBA4-43EC-9A4C-4C8C8BECF078}">
      <dgm:prSet/>
      <dgm:spPr/>
      <dgm:t>
        <a:bodyPr/>
        <a:lstStyle/>
        <a:p>
          <a:endParaRPr lang="es-ES" sz="1000"/>
        </a:p>
      </dgm:t>
    </dgm:pt>
    <dgm:pt modelId="{DAB46C3E-A4C2-40D2-9F8D-FED9C43E5F1F}" type="sibTrans" cxnId="{175EBC8C-EBA4-43EC-9A4C-4C8C8BECF078}">
      <dgm:prSet custT="1"/>
      <dgm:spPr/>
      <dgm:t>
        <a:bodyPr/>
        <a:lstStyle/>
        <a:p>
          <a:endParaRPr lang="es-ES" sz="1000"/>
        </a:p>
      </dgm:t>
    </dgm:pt>
    <dgm:pt modelId="{9F5AC30C-7DF0-442E-81D1-E332B383DBD5}">
      <dgm:prSet custT="1"/>
      <dgm:spPr>
        <a:solidFill>
          <a:srgbClr val="999999"/>
        </a:solidFill>
      </dgm:spPr>
      <dgm:t>
        <a:bodyPr/>
        <a:lstStyle/>
        <a:p>
          <a:r>
            <a:rPr lang="es-ES" sz="1000" dirty="0" err="1"/>
            <a:t>Other</a:t>
          </a:r>
          <a:r>
            <a:rPr lang="es-ES" sz="1000" dirty="0"/>
            <a:t> </a:t>
          </a:r>
          <a:r>
            <a:rPr lang="es-ES" sz="1000" dirty="0" err="1"/>
            <a:t>Systems</a:t>
          </a:r>
          <a:r>
            <a:rPr lang="es-ES" sz="1000" dirty="0"/>
            <a:t> </a:t>
          </a:r>
          <a:r>
            <a:rPr lang="es-ES" sz="1000" dirty="0" err="1"/>
            <a:t>Integrations</a:t>
          </a:r>
          <a:r>
            <a:rPr lang="es-ES" sz="1000" dirty="0"/>
            <a:t>?</a:t>
          </a:r>
        </a:p>
      </dgm:t>
    </dgm:pt>
    <dgm:pt modelId="{6FF5BFE0-6F59-4C06-B66C-1037EDFEE6CB}" type="parTrans" cxnId="{8D29A003-12B9-4644-8883-AE52086EF53F}">
      <dgm:prSet/>
      <dgm:spPr/>
      <dgm:t>
        <a:bodyPr/>
        <a:lstStyle/>
        <a:p>
          <a:endParaRPr lang="es-ES" sz="1000"/>
        </a:p>
      </dgm:t>
    </dgm:pt>
    <dgm:pt modelId="{08F8E5BD-A2BE-42C9-B64D-2B4DF56CD5EC}" type="sibTrans" cxnId="{8D29A003-12B9-4644-8883-AE52086EF53F}">
      <dgm:prSet custT="1"/>
      <dgm:spPr/>
      <dgm:t>
        <a:bodyPr/>
        <a:lstStyle/>
        <a:p>
          <a:endParaRPr lang="es-ES" sz="1000"/>
        </a:p>
      </dgm:t>
    </dgm:pt>
    <dgm:pt modelId="{D23C24B0-53B3-4317-AF18-AA28928D911E}" type="pres">
      <dgm:prSet presAssocID="{E16678E1-614E-460E-8695-362CF969A771}" presName="cycle" presStyleCnt="0">
        <dgm:presLayoutVars>
          <dgm:dir/>
          <dgm:resizeHandles val="exact"/>
        </dgm:presLayoutVars>
      </dgm:prSet>
      <dgm:spPr/>
    </dgm:pt>
    <dgm:pt modelId="{0F3470A5-10DB-40B2-90FC-5FDF95C1E5FB}" type="pres">
      <dgm:prSet presAssocID="{42A43699-DF91-49BA-ABAC-9926815A1066}" presName="node" presStyleLbl="node1" presStyleIdx="0" presStyleCnt="6">
        <dgm:presLayoutVars>
          <dgm:bulletEnabled val="1"/>
        </dgm:presLayoutVars>
      </dgm:prSet>
      <dgm:spPr/>
    </dgm:pt>
    <dgm:pt modelId="{26994FDE-10C5-4AB8-85F6-C8168148C337}" type="pres">
      <dgm:prSet presAssocID="{21EF2744-0526-44AB-B679-9BB22B829610}" presName="sibTrans" presStyleLbl="sibTrans2D1" presStyleIdx="0" presStyleCnt="6"/>
      <dgm:spPr/>
    </dgm:pt>
    <dgm:pt modelId="{360AAA9A-AED9-4621-AB9C-9A3DD36BF622}" type="pres">
      <dgm:prSet presAssocID="{21EF2744-0526-44AB-B679-9BB22B829610}" presName="connectorText" presStyleLbl="sibTrans2D1" presStyleIdx="0" presStyleCnt="6"/>
      <dgm:spPr/>
    </dgm:pt>
    <dgm:pt modelId="{53615F1F-AE43-4582-A28A-B251A93964CE}" type="pres">
      <dgm:prSet presAssocID="{6A02FAFF-5039-4E2F-898E-6E5DA253C7B3}" presName="node" presStyleLbl="node1" presStyleIdx="1" presStyleCnt="6">
        <dgm:presLayoutVars>
          <dgm:bulletEnabled val="1"/>
        </dgm:presLayoutVars>
      </dgm:prSet>
      <dgm:spPr/>
    </dgm:pt>
    <dgm:pt modelId="{8ED83917-99D1-4C80-9551-87952CD39FE2}" type="pres">
      <dgm:prSet presAssocID="{29BD8D6C-3BB2-4DCF-B62B-C0BF40650BC7}" presName="sibTrans" presStyleLbl="sibTrans2D1" presStyleIdx="1" presStyleCnt="6"/>
      <dgm:spPr/>
    </dgm:pt>
    <dgm:pt modelId="{1C5B4E66-B066-4575-91E3-7C6E8DC7E3E0}" type="pres">
      <dgm:prSet presAssocID="{29BD8D6C-3BB2-4DCF-B62B-C0BF40650BC7}" presName="connectorText" presStyleLbl="sibTrans2D1" presStyleIdx="1" presStyleCnt="6"/>
      <dgm:spPr/>
    </dgm:pt>
    <dgm:pt modelId="{10073563-FC36-4A03-A6D9-9EE010D5B686}" type="pres">
      <dgm:prSet presAssocID="{342E87A3-9993-4B69-8639-519084FD4EAA}" presName="node" presStyleLbl="node1" presStyleIdx="2" presStyleCnt="6">
        <dgm:presLayoutVars>
          <dgm:bulletEnabled val="1"/>
        </dgm:presLayoutVars>
      </dgm:prSet>
      <dgm:spPr/>
    </dgm:pt>
    <dgm:pt modelId="{E424A0F1-8161-4591-AA53-91E86ABA06CF}" type="pres">
      <dgm:prSet presAssocID="{4F8F82E9-C6B6-4499-B094-AD96BD75BF4F}" presName="sibTrans" presStyleLbl="sibTrans2D1" presStyleIdx="2" presStyleCnt="6"/>
      <dgm:spPr/>
    </dgm:pt>
    <dgm:pt modelId="{9B353C1E-3841-47B1-8E3B-01F31ADACA87}" type="pres">
      <dgm:prSet presAssocID="{4F8F82E9-C6B6-4499-B094-AD96BD75BF4F}" presName="connectorText" presStyleLbl="sibTrans2D1" presStyleIdx="2" presStyleCnt="6"/>
      <dgm:spPr/>
    </dgm:pt>
    <dgm:pt modelId="{5743C29F-1A95-4EA6-AA4A-13BB6304AEE5}" type="pres">
      <dgm:prSet presAssocID="{9F5AC30C-7DF0-442E-81D1-E332B383DBD5}" presName="node" presStyleLbl="node1" presStyleIdx="3" presStyleCnt="6">
        <dgm:presLayoutVars>
          <dgm:bulletEnabled val="1"/>
        </dgm:presLayoutVars>
      </dgm:prSet>
      <dgm:spPr/>
    </dgm:pt>
    <dgm:pt modelId="{3AF14619-BF0D-44F9-B31C-10594A455F23}" type="pres">
      <dgm:prSet presAssocID="{08F8E5BD-A2BE-42C9-B64D-2B4DF56CD5EC}" presName="sibTrans" presStyleLbl="sibTrans2D1" presStyleIdx="3" presStyleCnt="6"/>
      <dgm:spPr/>
    </dgm:pt>
    <dgm:pt modelId="{9D547AC6-2E35-4BB6-B65E-36B588BF4A86}" type="pres">
      <dgm:prSet presAssocID="{08F8E5BD-A2BE-42C9-B64D-2B4DF56CD5EC}" presName="connectorText" presStyleLbl="sibTrans2D1" presStyleIdx="3" presStyleCnt="6"/>
      <dgm:spPr/>
    </dgm:pt>
    <dgm:pt modelId="{218970ED-94FC-4B3E-9878-77422C4A048F}" type="pres">
      <dgm:prSet presAssocID="{264561AD-009E-445E-9A68-2260A7376018}" presName="node" presStyleLbl="node1" presStyleIdx="4" presStyleCnt="6">
        <dgm:presLayoutVars>
          <dgm:bulletEnabled val="1"/>
        </dgm:presLayoutVars>
      </dgm:prSet>
      <dgm:spPr/>
    </dgm:pt>
    <dgm:pt modelId="{3317BA3B-F148-4BAE-A259-13C934314853}" type="pres">
      <dgm:prSet presAssocID="{527A0905-B7AF-4A48-9D89-F12CC28F0F53}" presName="sibTrans" presStyleLbl="sibTrans2D1" presStyleIdx="4" presStyleCnt="6"/>
      <dgm:spPr/>
    </dgm:pt>
    <dgm:pt modelId="{34D7CB13-8DAC-4BA9-B67E-836F2372DAF3}" type="pres">
      <dgm:prSet presAssocID="{527A0905-B7AF-4A48-9D89-F12CC28F0F53}" presName="connectorText" presStyleLbl="sibTrans2D1" presStyleIdx="4" presStyleCnt="6"/>
      <dgm:spPr/>
    </dgm:pt>
    <dgm:pt modelId="{D77CC25F-2872-4AD9-9643-3AB79900ED09}" type="pres">
      <dgm:prSet presAssocID="{49D9E35C-EF99-40D1-8279-34D0883AC511}" presName="node" presStyleLbl="node1" presStyleIdx="5" presStyleCnt="6">
        <dgm:presLayoutVars>
          <dgm:bulletEnabled val="1"/>
        </dgm:presLayoutVars>
      </dgm:prSet>
      <dgm:spPr/>
    </dgm:pt>
    <dgm:pt modelId="{7CA7328B-CC5D-4CC0-B401-9468BEE0D73D}" type="pres">
      <dgm:prSet presAssocID="{DAB46C3E-A4C2-40D2-9F8D-FED9C43E5F1F}" presName="sibTrans" presStyleLbl="sibTrans2D1" presStyleIdx="5" presStyleCnt="6"/>
      <dgm:spPr/>
    </dgm:pt>
    <dgm:pt modelId="{69CD23F8-FB77-490D-BE22-CC87EB00EAE5}" type="pres">
      <dgm:prSet presAssocID="{DAB46C3E-A4C2-40D2-9F8D-FED9C43E5F1F}" presName="connectorText" presStyleLbl="sibTrans2D1" presStyleIdx="5" presStyleCnt="6"/>
      <dgm:spPr/>
    </dgm:pt>
  </dgm:ptLst>
  <dgm:cxnLst>
    <dgm:cxn modelId="{8D29A003-12B9-4644-8883-AE52086EF53F}" srcId="{E16678E1-614E-460E-8695-362CF969A771}" destId="{9F5AC30C-7DF0-442E-81D1-E332B383DBD5}" srcOrd="3" destOrd="0" parTransId="{6FF5BFE0-6F59-4C06-B66C-1037EDFEE6CB}" sibTransId="{08F8E5BD-A2BE-42C9-B64D-2B4DF56CD5EC}"/>
    <dgm:cxn modelId="{5818CD0A-A184-46AE-BB9E-5A593DBB13D6}" type="presOf" srcId="{4F8F82E9-C6B6-4499-B094-AD96BD75BF4F}" destId="{E424A0F1-8161-4591-AA53-91E86ABA06CF}" srcOrd="0" destOrd="0" presId="urn:microsoft.com/office/officeart/2005/8/layout/cycle2"/>
    <dgm:cxn modelId="{90868110-7F9C-4819-82A7-0A99E1FE1B2F}" type="presOf" srcId="{21EF2744-0526-44AB-B679-9BB22B829610}" destId="{26994FDE-10C5-4AB8-85F6-C8168148C337}" srcOrd="0" destOrd="0" presId="urn:microsoft.com/office/officeart/2005/8/layout/cycle2"/>
    <dgm:cxn modelId="{A53A5F23-2A9E-4DFD-B359-6603915C7011}" type="presOf" srcId="{9F5AC30C-7DF0-442E-81D1-E332B383DBD5}" destId="{5743C29F-1A95-4EA6-AA4A-13BB6304AEE5}" srcOrd="0" destOrd="0" presId="urn:microsoft.com/office/officeart/2005/8/layout/cycle2"/>
    <dgm:cxn modelId="{F2634227-2C76-4802-873D-F302F3974926}" type="presOf" srcId="{527A0905-B7AF-4A48-9D89-F12CC28F0F53}" destId="{3317BA3B-F148-4BAE-A259-13C934314853}" srcOrd="0" destOrd="0" presId="urn:microsoft.com/office/officeart/2005/8/layout/cycle2"/>
    <dgm:cxn modelId="{608F9F2C-A5D1-42D6-AA30-EBAEDC4C9346}" type="presOf" srcId="{342E87A3-9993-4B69-8639-519084FD4EAA}" destId="{10073563-FC36-4A03-A6D9-9EE010D5B686}" srcOrd="0" destOrd="0" presId="urn:microsoft.com/office/officeart/2005/8/layout/cycle2"/>
    <dgm:cxn modelId="{B27C6D3C-79C4-477D-8877-922AC5CF44B0}" srcId="{E16678E1-614E-460E-8695-362CF969A771}" destId="{42A43699-DF91-49BA-ABAC-9926815A1066}" srcOrd="0" destOrd="0" parTransId="{49EDA64B-9794-438A-A99B-6B62BE2B932D}" sibTransId="{21EF2744-0526-44AB-B679-9BB22B829610}"/>
    <dgm:cxn modelId="{C9A1DC5E-EE1D-4FDE-9BB6-AF31B99EB7F0}" type="presOf" srcId="{527A0905-B7AF-4A48-9D89-F12CC28F0F53}" destId="{34D7CB13-8DAC-4BA9-B67E-836F2372DAF3}" srcOrd="1" destOrd="0" presId="urn:microsoft.com/office/officeart/2005/8/layout/cycle2"/>
    <dgm:cxn modelId="{302F8043-9C61-4121-B3CF-A70927B85258}" type="presOf" srcId="{21EF2744-0526-44AB-B679-9BB22B829610}" destId="{360AAA9A-AED9-4621-AB9C-9A3DD36BF622}" srcOrd="1" destOrd="0" presId="urn:microsoft.com/office/officeart/2005/8/layout/cycle2"/>
    <dgm:cxn modelId="{3960144A-9354-47C3-9285-C549F67696D9}" type="presOf" srcId="{264561AD-009E-445E-9A68-2260A7376018}" destId="{218970ED-94FC-4B3E-9878-77422C4A048F}" srcOrd="0" destOrd="0" presId="urn:microsoft.com/office/officeart/2005/8/layout/cycle2"/>
    <dgm:cxn modelId="{58780172-607A-4C48-B4DB-ED61467BB613}" type="presOf" srcId="{E16678E1-614E-460E-8695-362CF969A771}" destId="{D23C24B0-53B3-4317-AF18-AA28928D911E}" srcOrd="0" destOrd="0" presId="urn:microsoft.com/office/officeart/2005/8/layout/cycle2"/>
    <dgm:cxn modelId="{EDA91054-F542-4987-B0B0-BE181BD83FE5}" type="presOf" srcId="{08F8E5BD-A2BE-42C9-B64D-2B4DF56CD5EC}" destId="{9D547AC6-2E35-4BB6-B65E-36B588BF4A86}" srcOrd="1" destOrd="0" presId="urn:microsoft.com/office/officeart/2005/8/layout/cycle2"/>
    <dgm:cxn modelId="{61990C59-D3D4-4103-8209-C9DB8909DF30}" type="presOf" srcId="{42A43699-DF91-49BA-ABAC-9926815A1066}" destId="{0F3470A5-10DB-40B2-90FC-5FDF95C1E5FB}" srcOrd="0" destOrd="0" presId="urn:microsoft.com/office/officeart/2005/8/layout/cycle2"/>
    <dgm:cxn modelId="{28873679-FA61-4AED-96E5-BBBA6A07C842}" srcId="{E16678E1-614E-460E-8695-362CF969A771}" destId="{264561AD-009E-445E-9A68-2260A7376018}" srcOrd="4" destOrd="0" parTransId="{A4FDFF80-85DD-42BC-B15C-4236A0FF4F33}" sibTransId="{527A0905-B7AF-4A48-9D89-F12CC28F0F53}"/>
    <dgm:cxn modelId="{175EBC8C-EBA4-43EC-9A4C-4C8C8BECF078}" srcId="{E16678E1-614E-460E-8695-362CF969A771}" destId="{49D9E35C-EF99-40D1-8279-34D0883AC511}" srcOrd="5" destOrd="0" parTransId="{E3AF73D9-1C46-44A5-AA36-B0E78F76B285}" sibTransId="{DAB46C3E-A4C2-40D2-9F8D-FED9C43E5F1F}"/>
    <dgm:cxn modelId="{CB190995-4BA7-46EA-9413-FF6EDD523A38}" srcId="{E16678E1-614E-460E-8695-362CF969A771}" destId="{6A02FAFF-5039-4E2F-898E-6E5DA253C7B3}" srcOrd="1" destOrd="0" parTransId="{F90C6E84-88C7-4B81-A701-3F42CEB80BA6}" sibTransId="{29BD8D6C-3BB2-4DCF-B62B-C0BF40650BC7}"/>
    <dgm:cxn modelId="{A547239D-6573-4E61-88EC-1A91E0A9C404}" type="presOf" srcId="{6A02FAFF-5039-4E2F-898E-6E5DA253C7B3}" destId="{53615F1F-AE43-4582-A28A-B251A93964CE}" srcOrd="0" destOrd="0" presId="urn:microsoft.com/office/officeart/2005/8/layout/cycle2"/>
    <dgm:cxn modelId="{739B08A3-9271-47E6-84D2-C7130960A5F9}" srcId="{E16678E1-614E-460E-8695-362CF969A771}" destId="{342E87A3-9993-4B69-8639-519084FD4EAA}" srcOrd="2" destOrd="0" parTransId="{D57EDDAA-1152-4C38-AB37-82640A28A7C4}" sibTransId="{4F8F82E9-C6B6-4499-B094-AD96BD75BF4F}"/>
    <dgm:cxn modelId="{D714E9C9-154F-4964-B1D3-4C12E14D2168}" type="presOf" srcId="{49D9E35C-EF99-40D1-8279-34D0883AC511}" destId="{D77CC25F-2872-4AD9-9643-3AB79900ED09}" srcOrd="0" destOrd="0" presId="urn:microsoft.com/office/officeart/2005/8/layout/cycle2"/>
    <dgm:cxn modelId="{ED9F7FCD-A189-41D7-BC21-2516A6AFC21F}" type="presOf" srcId="{08F8E5BD-A2BE-42C9-B64D-2B4DF56CD5EC}" destId="{3AF14619-BF0D-44F9-B31C-10594A455F23}" srcOrd="0" destOrd="0" presId="urn:microsoft.com/office/officeart/2005/8/layout/cycle2"/>
    <dgm:cxn modelId="{2A7AEADA-DACF-4CD5-8E0D-DA48D824DB59}" type="presOf" srcId="{29BD8D6C-3BB2-4DCF-B62B-C0BF40650BC7}" destId="{1C5B4E66-B066-4575-91E3-7C6E8DC7E3E0}" srcOrd="1" destOrd="0" presId="urn:microsoft.com/office/officeart/2005/8/layout/cycle2"/>
    <dgm:cxn modelId="{760137DF-9C7C-40F3-80E2-60137FFA24CD}" type="presOf" srcId="{DAB46C3E-A4C2-40D2-9F8D-FED9C43E5F1F}" destId="{7CA7328B-CC5D-4CC0-B401-9468BEE0D73D}" srcOrd="0" destOrd="0" presId="urn:microsoft.com/office/officeart/2005/8/layout/cycle2"/>
    <dgm:cxn modelId="{A2DBA8E7-7724-4A4D-B6C6-5B24A4BBCFCF}" type="presOf" srcId="{29BD8D6C-3BB2-4DCF-B62B-C0BF40650BC7}" destId="{8ED83917-99D1-4C80-9551-87952CD39FE2}" srcOrd="0" destOrd="0" presId="urn:microsoft.com/office/officeart/2005/8/layout/cycle2"/>
    <dgm:cxn modelId="{1BFA45EC-19BE-4B20-9929-B003A083E30C}" type="presOf" srcId="{DAB46C3E-A4C2-40D2-9F8D-FED9C43E5F1F}" destId="{69CD23F8-FB77-490D-BE22-CC87EB00EAE5}" srcOrd="1" destOrd="0" presId="urn:microsoft.com/office/officeart/2005/8/layout/cycle2"/>
    <dgm:cxn modelId="{EF85D8F7-8F2F-45FD-9DF0-FC195B6B4928}" type="presOf" srcId="{4F8F82E9-C6B6-4499-B094-AD96BD75BF4F}" destId="{9B353C1E-3841-47B1-8E3B-01F31ADACA87}" srcOrd="1" destOrd="0" presId="urn:microsoft.com/office/officeart/2005/8/layout/cycle2"/>
    <dgm:cxn modelId="{44577C1C-B639-472E-8058-07DC162DFECE}" type="presParOf" srcId="{D23C24B0-53B3-4317-AF18-AA28928D911E}" destId="{0F3470A5-10DB-40B2-90FC-5FDF95C1E5FB}" srcOrd="0" destOrd="0" presId="urn:microsoft.com/office/officeart/2005/8/layout/cycle2"/>
    <dgm:cxn modelId="{317DD5FE-7836-41AC-A2B7-79DEFB5398AD}" type="presParOf" srcId="{D23C24B0-53B3-4317-AF18-AA28928D911E}" destId="{26994FDE-10C5-4AB8-85F6-C8168148C337}" srcOrd="1" destOrd="0" presId="urn:microsoft.com/office/officeart/2005/8/layout/cycle2"/>
    <dgm:cxn modelId="{D3EA5F5C-AD86-463C-8C7B-11C571AFA4EB}" type="presParOf" srcId="{26994FDE-10C5-4AB8-85F6-C8168148C337}" destId="{360AAA9A-AED9-4621-AB9C-9A3DD36BF622}" srcOrd="0" destOrd="0" presId="urn:microsoft.com/office/officeart/2005/8/layout/cycle2"/>
    <dgm:cxn modelId="{4CB015A6-2461-4874-897D-D0B5A312FB75}" type="presParOf" srcId="{D23C24B0-53B3-4317-AF18-AA28928D911E}" destId="{53615F1F-AE43-4582-A28A-B251A93964CE}" srcOrd="2" destOrd="0" presId="urn:microsoft.com/office/officeart/2005/8/layout/cycle2"/>
    <dgm:cxn modelId="{E1121B8E-5996-4E96-999B-2DB65F34FA61}" type="presParOf" srcId="{D23C24B0-53B3-4317-AF18-AA28928D911E}" destId="{8ED83917-99D1-4C80-9551-87952CD39FE2}" srcOrd="3" destOrd="0" presId="urn:microsoft.com/office/officeart/2005/8/layout/cycle2"/>
    <dgm:cxn modelId="{07612F16-34F0-469E-B8DE-C5EC72CA43B0}" type="presParOf" srcId="{8ED83917-99D1-4C80-9551-87952CD39FE2}" destId="{1C5B4E66-B066-4575-91E3-7C6E8DC7E3E0}" srcOrd="0" destOrd="0" presId="urn:microsoft.com/office/officeart/2005/8/layout/cycle2"/>
    <dgm:cxn modelId="{20D9FBA1-1F28-431E-8244-4D017F0E16B3}" type="presParOf" srcId="{D23C24B0-53B3-4317-AF18-AA28928D911E}" destId="{10073563-FC36-4A03-A6D9-9EE010D5B686}" srcOrd="4" destOrd="0" presId="urn:microsoft.com/office/officeart/2005/8/layout/cycle2"/>
    <dgm:cxn modelId="{22B0D39C-B7C5-46C3-87A1-A2A7C0C42EEB}" type="presParOf" srcId="{D23C24B0-53B3-4317-AF18-AA28928D911E}" destId="{E424A0F1-8161-4591-AA53-91E86ABA06CF}" srcOrd="5" destOrd="0" presId="urn:microsoft.com/office/officeart/2005/8/layout/cycle2"/>
    <dgm:cxn modelId="{EAC69CA1-E8F4-485B-A742-31A32B8A7A42}" type="presParOf" srcId="{E424A0F1-8161-4591-AA53-91E86ABA06CF}" destId="{9B353C1E-3841-47B1-8E3B-01F31ADACA87}" srcOrd="0" destOrd="0" presId="urn:microsoft.com/office/officeart/2005/8/layout/cycle2"/>
    <dgm:cxn modelId="{C3BF2143-983E-408C-B773-C771E5EF68A1}" type="presParOf" srcId="{D23C24B0-53B3-4317-AF18-AA28928D911E}" destId="{5743C29F-1A95-4EA6-AA4A-13BB6304AEE5}" srcOrd="6" destOrd="0" presId="urn:microsoft.com/office/officeart/2005/8/layout/cycle2"/>
    <dgm:cxn modelId="{B571F39A-2AB8-4621-9068-76FA5845E2A8}" type="presParOf" srcId="{D23C24B0-53B3-4317-AF18-AA28928D911E}" destId="{3AF14619-BF0D-44F9-B31C-10594A455F23}" srcOrd="7" destOrd="0" presId="urn:microsoft.com/office/officeart/2005/8/layout/cycle2"/>
    <dgm:cxn modelId="{E058556F-AC12-4139-ACF4-0A81C908DE3B}" type="presParOf" srcId="{3AF14619-BF0D-44F9-B31C-10594A455F23}" destId="{9D547AC6-2E35-4BB6-B65E-36B588BF4A86}" srcOrd="0" destOrd="0" presId="urn:microsoft.com/office/officeart/2005/8/layout/cycle2"/>
    <dgm:cxn modelId="{E892AA7D-3322-4627-8925-B1C30AB990CC}" type="presParOf" srcId="{D23C24B0-53B3-4317-AF18-AA28928D911E}" destId="{218970ED-94FC-4B3E-9878-77422C4A048F}" srcOrd="8" destOrd="0" presId="urn:microsoft.com/office/officeart/2005/8/layout/cycle2"/>
    <dgm:cxn modelId="{144E084E-C8BD-4DAE-BE37-25725E2FA6F8}" type="presParOf" srcId="{D23C24B0-53B3-4317-AF18-AA28928D911E}" destId="{3317BA3B-F148-4BAE-A259-13C934314853}" srcOrd="9" destOrd="0" presId="urn:microsoft.com/office/officeart/2005/8/layout/cycle2"/>
    <dgm:cxn modelId="{7A8B1F38-3567-4997-8B5B-0680CB9DD139}" type="presParOf" srcId="{3317BA3B-F148-4BAE-A259-13C934314853}" destId="{34D7CB13-8DAC-4BA9-B67E-836F2372DAF3}" srcOrd="0" destOrd="0" presId="urn:microsoft.com/office/officeart/2005/8/layout/cycle2"/>
    <dgm:cxn modelId="{75CFCB64-A95D-4BB7-9EE1-D6155FBF68FA}" type="presParOf" srcId="{D23C24B0-53B3-4317-AF18-AA28928D911E}" destId="{D77CC25F-2872-4AD9-9643-3AB79900ED09}" srcOrd="10" destOrd="0" presId="urn:microsoft.com/office/officeart/2005/8/layout/cycle2"/>
    <dgm:cxn modelId="{A8340DDD-B1C6-4CED-B60E-C540C3E1242B}" type="presParOf" srcId="{D23C24B0-53B3-4317-AF18-AA28928D911E}" destId="{7CA7328B-CC5D-4CC0-B401-9468BEE0D73D}" srcOrd="11" destOrd="0" presId="urn:microsoft.com/office/officeart/2005/8/layout/cycle2"/>
    <dgm:cxn modelId="{ECC45D44-2735-42D6-80AF-7EF1E1B3BF64}" type="presParOf" srcId="{7CA7328B-CC5D-4CC0-B401-9468BEE0D73D}" destId="{69CD23F8-FB77-490D-BE22-CC87EB00EAE5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3571C-5BFB-4851-92EE-8871607A9055}">
      <dsp:nvSpPr>
        <dsp:cNvPr id="0" name=""/>
        <dsp:cNvSpPr/>
      </dsp:nvSpPr>
      <dsp:spPr>
        <a:xfrm>
          <a:off x="1591773" y="1903457"/>
          <a:ext cx="1468210" cy="1468210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kern="1200" dirty="0"/>
            <a:t>VENDORS COST ESTIMATION</a:t>
          </a:r>
        </a:p>
      </dsp:txBody>
      <dsp:txXfrm>
        <a:off x="1806787" y="2118471"/>
        <a:ext cx="1038182" cy="1038182"/>
      </dsp:txXfrm>
    </dsp:sp>
    <dsp:sp modelId="{FDEED746-850F-4D9D-BCA1-5E216B19B8C6}">
      <dsp:nvSpPr>
        <dsp:cNvPr id="0" name=""/>
        <dsp:cNvSpPr/>
      </dsp:nvSpPr>
      <dsp:spPr>
        <a:xfrm rot="12900000">
          <a:off x="592307" y="1628582"/>
          <a:ext cx="1182789" cy="41844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6CC940-E556-41BC-91AE-EAB0ACF195A7}">
      <dsp:nvSpPr>
        <dsp:cNvPr id="0" name=""/>
        <dsp:cNvSpPr/>
      </dsp:nvSpPr>
      <dsp:spPr>
        <a:xfrm>
          <a:off x="1860" y="940671"/>
          <a:ext cx="1394800" cy="1115840"/>
        </a:xfrm>
        <a:prstGeom prst="roundRect">
          <a:avLst>
            <a:gd name="adj" fmla="val 10000"/>
          </a:avLst>
        </a:prstGeom>
        <a:solidFill>
          <a:srgbClr val="B2D3F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kern="1200" dirty="0"/>
            <a:t>PERT EFFORT ESTIMATION</a:t>
          </a:r>
        </a:p>
      </dsp:txBody>
      <dsp:txXfrm>
        <a:off x="34542" y="973353"/>
        <a:ext cx="1329436" cy="1050476"/>
      </dsp:txXfrm>
    </dsp:sp>
    <dsp:sp modelId="{D0613000-F80C-4988-A4B1-B3D92B9B263C}">
      <dsp:nvSpPr>
        <dsp:cNvPr id="0" name=""/>
        <dsp:cNvSpPr/>
      </dsp:nvSpPr>
      <dsp:spPr>
        <a:xfrm rot="16200000">
          <a:off x="1734483" y="1034002"/>
          <a:ext cx="1182789" cy="41844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6991D2-9F55-43E7-A673-BEF985797660}">
      <dsp:nvSpPr>
        <dsp:cNvPr id="0" name=""/>
        <dsp:cNvSpPr/>
      </dsp:nvSpPr>
      <dsp:spPr>
        <a:xfrm>
          <a:off x="1628478" y="93908"/>
          <a:ext cx="1394800" cy="1115840"/>
        </a:xfrm>
        <a:prstGeom prst="roundRect">
          <a:avLst>
            <a:gd name="adj" fmla="val 10000"/>
          </a:avLst>
        </a:prstGeom>
        <a:solidFill>
          <a:srgbClr val="FF33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kern="1200" dirty="0"/>
            <a:t>USE CASE POINT EFFORT ESTIMATION</a:t>
          </a:r>
        </a:p>
      </dsp:txBody>
      <dsp:txXfrm>
        <a:off x="1661160" y="126590"/>
        <a:ext cx="1329436" cy="1050476"/>
      </dsp:txXfrm>
    </dsp:sp>
    <dsp:sp modelId="{415BDE20-BEC9-4794-9BE9-1C27E7F6FEA6}">
      <dsp:nvSpPr>
        <dsp:cNvPr id="0" name=""/>
        <dsp:cNvSpPr/>
      </dsp:nvSpPr>
      <dsp:spPr>
        <a:xfrm rot="19500000">
          <a:off x="2876660" y="1628582"/>
          <a:ext cx="1182789" cy="418440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40A678-EA9E-4A77-A446-34F52D8BDF7B}">
      <dsp:nvSpPr>
        <dsp:cNvPr id="0" name=""/>
        <dsp:cNvSpPr/>
      </dsp:nvSpPr>
      <dsp:spPr>
        <a:xfrm>
          <a:off x="3255096" y="940671"/>
          <a:ext cx="1394800" cy="1115840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200" kern="1200" dirty="0"/>
            <a:t>AGILE - EPIC POINT EFFORT ESTIMATION</a:t>
          </a:r>
        </a:p>
      </dsp:txBody>
      <dsp:txXfrm>
        <a:off x="3287778" y="973353"/>
        <a:ext cx="1329436" cy="10504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3470A5-10DB-40B2-90FC-5FDF95C1E5FB}">
      <dsp:nvSpPr>
        <dsp:cNvPr id="0" name=""/>
        <dsp:cNvSpPr/>
      </dsp:nvSpPr>
      <dsp:spPr>
        <a:xfrm>
          <a:off x="1762011" y="2303"/>
          <a:ext cx="1127733" cy="1127733"/>
        </a:xfrm>
        <a:prstGeom prst="ellipse">
          <a:avLst/>
        </a:prstGeom>
        <a:solidFill>
          <a:srgbClr val="9966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Performance </a:t>
          </a:r>
          <a:r>
            <a:rPr lang="es-ES" sz="1000" kern="1200" dirty="0" err="1"/>
            <a:t>is</a:t>
          </a:r>
          <a:r>
            <a:rPr lang="es-ES" sz="1000" kern="1200" dirty="0"/>
            <a:t> a Key?</a:t>
          </a:r>
        </a:p>
      </dsp:txBody>
      <dsp:txXfrm>
        <a:off x="1927164" y="167456"/>
        <a:ext cx="797427" cy="797427"/>
      </dsp:txXfrm>
    </dsp:sp>
    <dsp:sp modelId="{26994FDE-10C5-4AB8-85F6-C8168148C337}">
      <dsp:nvSpPr>
        <dsp:cNvPr id="0" name=""/>
        <dsp:cNvSpPr/>
      </dsp:nvSpPr>
      <dsp:spPr>
        <a:xfrm rot="1800000">
          <a:off x="2901841" y="794893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>
        <a:off x="2907862" y="848543"/>
        <a:ext cx="209742" cy="228365"/>
      </dsp:txXfrm>
    </dsp:sp>
    <dsp:sp modelId="{53615F1F-AE43-4582-A28A-B251A93964CE}">
      <dsp:nvSpPr>
        <dsp:cNvPr id="0" name=""/>
        <dsp:cNvSpPr/>
      </dsp:nvSpPr>
      <dsp:spPr>
        <a:xfrm>
          <a:off x="3228258" y="848841"/>
          <a:ext cx="1127733" cy="1127733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 err="1"/>
            <a:t>Specific</a:t>
          </a:r>
          <a:r>
            <a:rPr lang="es-ES" sz="1000" kern="1200" dirty="0"/>
            <a:t> </a:t>
          </a:r>
          <a:r>
            <a:rPr lang="es-ES" sz="1000" kern="1200" dirty="0" err="1"/>
            <a:t>Platform</a:t>
          </a:r>
          <a:r>
            <a:rPr lang="es-ES" sz="1000" kern="1200" dirty="0"/>
            <a:t> / </a:t>
          </a:r>
          <a:r>
            <a:rPr lang="es-ES" sz="1000" kern="1200" dirty="0" err="1"/>
            <a:t>Devices</a:t>
          </a:r>
          <a:r>
            <a:rPr lang="es-ES" sz="1000" kern="1200" dirty="0"/>
            <a:t> </a:t>
          </a:r>
          <a:r>
            <a:rPr lang="es-ES" sz="1000" kern="1200" dirty="0" err="1"/>
            <a:t>Features</a:t>
          </a:r>
          <a:r>
            <a:rPr lang="es-ES" sz="1000" kern="1200" dirty="0"/>
            <a:t>?</a:t>
          </a:r>
        </a:p>
      </dsp:txBody>
      <dsp:txXfrm>
        <a:off x="3393411" y="1013994"/>
        <a:ext cx="797427" cy="797427"/>
      </dsp:txXfrm>
    </dsp:sp>
    <dsp:sp modelId="{8ED83917-99D1-4C80-9551-87952CD39FE2}">
      <dsp:nvSpPr>
        <dsp:cNvPr id="0" name=""/>
        <dsp:cNvSpPr/>
      </dsp:nvSpPr>
      <dsp:spPr>
        <a:xfrm rot="5400000">
          <a:off x="3642309" y="2060460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>
        <a:off x="3687254" y="2091638"/>
        <a:ext cx="209742" cy="228365"/>
      </dsp:txXfrm>
    </dsp:sp>
    <dsp:sp modelId="{10073563-FC36-4A03-A6D9-9EE010D5B686}">
      <dsp:nvSpPr>
        <dsp:cNvPr id="0" name=""/>
        <dsp:cNvSpPr/>
      </dsp:nvSpPr>
      <dsp:spPr>
        <a:xfrm>
          <a:off x="3228258" y="2541916"/>
          <a:ext cx="1127733" cy="1127733"/>
        </a:xfrm>
        <a:prstGeom prst="ellipse">
          <a:avLst/>
        </a:prstGeom>
        <a:solidFill>
          <a:srgbClr val="CC9B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Offline </a:t>
          </a:r>
          <a:r>
            <a:rPr lang="es-ES" sz="1000" kern="1200" dirty="0" err="1"/>
            <a:t>Cababilites</a:t>
          </a:r>
          <a:r>
            <a:rPr lang="es-ES" sz="1000" kern="1200" dirty="0"/>
            <a:t>?</a:t>
          </a:r>
        </a:p>
      </dsp:txBody>
      <dsp:txXfrm>
        <a:off x="3393411" y="2707069"/>
        <a:ext cx="797427" cy="797427"/>
      </dsp:txXfrm>
    </dsp:sp>
    <dsp:sp modelId="{E424A0F1-8161-4591-AA53-91E86ABA06CF}">
      <dsp:nvSpPr>
        <dsp:cNvPr id="0" name=""/>
        <dsp:cNvSpPr/>
      </dsp:nvSpPr>
      <dsp:spPr>
        <a:xfrm rot="9000000">
          <a:off x="2916530" y="3334507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 rot="10800000">
        <a:off x="3000398" y="3388157"/>
        <a:ext cx="209742" cy="228365"/>
      </dsp:txXfrm>
    </dsp:sp>
    <dsp:sp modelId="{5743C29F-1A95-4EA6-AA4A-13BB6304AEE5}">
      <dsp:nvSpPr>
        <dsp:cNvPr id="0" name=""/>
        <dsp:cNvSpPr/>
      </dsp:nvSpPr>
      <dsp:spPr>
        <a:xfrm>
          <a:off x="1762011" y="3388454"/>
          <a:ext cx="1127733" cy="1127733"/>
        </a:xfrm>
        <a:prstGeom prst="ellipse">
          <a:avLst/>
        </a:prstGeom>
        <a:solidFill>
          <a:srgbClr val="9999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 err="1"/>
            <a:t>Other</a:t>
          </a:r>
          <a:r>
            <a:rPr lang="es-ES" sz="1000" kern="1200" dirty="0"/>
            <a:t> </a:t>
          </a:r>
          <a:r>
            <a:rPr lang="es-ES" sz="1000" kern="1200" dirty="0" err="1"/>
            <a:t>Systems</a:t>
          </a:r>
          <a:r>
            <a:rPr lang="es-ES" sz="1000" kern="1200" dirty="0"/>
            <a:t> </a:t>
          </a:r>
          <a:r>
            <a:rPr lang="es-ES" sz="1000" kern="1200" dirty="0" err="1"/>
            <a:t>Integrations</a:t>
          </a:r>
          <a:r>
            <a:rPr lang="es-ES" sz="1000" kern="1200" dirty="0"/>
            <a:t>?</a:t>
          </a:r>
        </a:p>
      </dsp:txBody>
      <dsp:txXfrm>
        <a:off x="1927164" y="3553607"/>
        <a:ext cx="797427" cy="797427"/>
      </dsp:txXfrm>
    </dsp:sp>
    <dsp:sp modelId="{3AF14619-BF0D-44F9-B31C-10594A455F23}">
      <dsp:nvSpPr>
        <dsp:cNvPr id="0" name=""/>
        <dsp:cNvSpPr/>
      </dsp:nvSpPr>
      <dsp:spPr>
        <a:xfrm rot="12600000">
          <a:off x="1450283" y="3342987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 rot="10800000">
        <a:off x="1534151" y="3441581"/>
        <a:ext cx="209742" cy="228365"/>
      </dsp:txXfrm>
    </dsp:sp>
    <dsp:sp modelId="{218970ED-94FC-4B3E-9878-77422C4A048F}">
      <dsp:nvSpPr>
        <dsp:cNvPr id="0" name=""/>
        <dsp:cNvSpPr/>
      </dsp:nvSpPr>
      <dsp:spPr>
        <a:xfrm>
          <a:off x="295765" y="2541916"/>
          <a:ext cx="1127733" cy="1127733"/>
        </a:xfrm>
        <a:prstGeom prst="ellipse">
          <a:avLst/>
        </a:prstGeom>
        <a:solidFill>
          <a:srgbClr val="65194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 err="1"/>
            <a:t>Limited</a:t>
          </a:r>
          <a:r>
            <a:rPr lang="es-ES" sz="1000" kern="1200" dirty="0"/>
            <a:t> Budget?</a:t>
          </a:r>
        </a:p>
      </dsp:txBody>
      <dsp:txXfrm>
        <a:off x="460918" y="2707069"/>
        <a:ext cx="797427" cy="797427"/>
      </dsp:txXfrm>
    </dsp:sp>
    <dsp:sp modelId="{3317BA3B-F148-4BAE-A259-13C934314853}">
      <dsp:nvSpPr>
        <dsp:cNvPr id="0" name=""/>
        <dsp:cNvSpPr/>
      </dsp:nvSpPr>
      <dsp:spPr>
        <a:xfrm rot="16200000">
          <a:off x="709816" y="2077420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>
        <a:off x="754761" y="2198487"/>
        <a:ext cx="209742" cy="228365"/>
      </dsp:txXfrm>
    </dsp:sp>
    <dsp:sp modelId="{D77CC25F-2872-4AD9-9643-3AB79900ED09}">
      <dsp:nvSpPr>
        <dsp:cNvPr id="0" name=""/>
        <dsp:cNvSpPr/>
      </dsp:nvSpPr>
      <dsp:spPr>
        <a:xfrm>
          <a:off x="295765" y="848841"/>
          <a:ext cx="1127733" cy="1127733"/>
        </a:xfrm>
        <a:prstGeom prst="ellipse">
          <a:avLst/>
        </a:prstGeom>
        <a:solidFill>
          <a:srgbClr val="3A443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 err="1"/>
            <a:t>External</a:t>
          </a:r>
          <a:r>
            <a:rPr lang="es-ES" sz="1000" kern="1200" dirty="0"/>
            <a:t> </a:t>
          </a:r>
          <a:r>
            <a:rPr lang="es-ES" sz="1000" kern="1200" dirty="0" err="1"/>
            <a:t>Sharing</a:t>
          </a:r>
          <a:r>
            <a:rPr lang="es-ES" sz="1000" kern="1200" dirty="0"/>
            <a:t>?</a:t>
          </a:r>
        </a:p>
      </dsp:txBody>
      <dsp:txXfrm>
        <a:off x="460918" y="1013994"/>
        <a:ext cx="797427" cy="797427"/>
      </dsp:txXfrm>
    </dsp:sp>
    <dsp:sp modelId="{7CA7328B-CC5D-4CC0-B401-9468BEE0D73D}">
      <dsp:nvSpPr>
        <dsp:cNvPr id="0" name=""/>
        <dsp:cNvSpPr/>
      </dsp:nvSpPr>
      <dsp:spPr>
        <a:xfrm rot="19800000">
          <a:off x="1435595" y="803373"/>
          <a:ext cx="299631" cy="3806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000" kern="1200"/>
        </a:p>
      </dsp:txBody>
      <dsp:txXfrm>
        <a:off x="1441616" y="901967"/>
        <a:ext cx="209742" cy="2283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0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804D4B-5FD7-449A-8C75-31F337BFD043}" type="datetimeFigureOut">
              <a:rPr lang="en-US" smtClean="0"/>
              <a:t>10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C88900-2494-4A6D-AEE0-A28AF96978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3220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563346B8-455B-438B-B892-E71706A1881B}" type="datetimeFigureOut">
              <a:rPr lang="de-DE" smtClean="0"/>
              <a:t>11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65" tIns="45533" rIns="91065" bIns="45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065" tIns="45533" rIns="91065" bIns="455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0" cy="49502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5" y="9371286"/>
            <a:ext cx="2918830" cy="49502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D227FB9F-4C13-47A9-9880-833E46D4709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265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7FB9F-4C13-47A9-9880-833E46D4709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6059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7FB9F-4C13-47A9-9880-833E46D4709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989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7FB9F-4C13-47A9-9880-833E46D4709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3219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7FB9F-4C13-47A9-9880-833E46D4709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628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12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27.xml"/><Relationship Id="rId7" Type="http://schemas.openxmlformats.org/officeDocument/2006/relationships/image" Target="../media/image6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29.xml"/><Relationship Id="rId7" Type="http://schemas.openxmlformats.org/officeDocument/2006/relationships/image" Target="../media/image6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1.xml"/><Relationship Id="rId7" Type="http://schemas.openxmlformats.org/officeDocument/2006/relationships/image" Target="../media/image6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3.xml"/><Relationship Id="rId7" Type="http://schemas.openxmlformats.org/officeDocument/2006/relationships/image" Target="../media/image6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5.xml"/><Relationship Id="rId7" Type="http://schemas.openxmlformats.org/officeDocument/2006/relationships/image" Target="../media/image6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7.xml"/><Relationship Id="rId7" Type="http://schemas.openxmlformats.org/officeDocument/2006/relationships/image" Target="../media/image6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9.xml"/><Relationship Id="rId7" Type="http://schemas.openxmlformats.org/officeDocument/2006/relationships/image" Target="../media/image6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1.xml"/><Relationship Id="rId7" Type="http://schemas.openxmlformats.org/officeDocument/2006/relationships/image" Target="../media/image6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3.xml"/><Relationship Id="rId7" Type="http://schemas.openxmlformats.org/officeDocument/2006/relationships/image" Target="../media/image6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5.xml"/><Relationship Id="rId7" Type="http://schemas.openxmlformats.org/officeDocument/2006/relationships/image" Target="../media/image6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9.xml"/><Relationship Id="rId7" Type="http://schemas.openxmlformats.org/officeDocument/2006/relationships/image" Target="../media/image6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1.xml"/><Relationship Id="rId7" Type="http://schemas.openxmlformats.org/officeDocument/2006/relationships/image" Target="../media/image6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3.xml"/><Relationship Id="rId7" Type="http://schemas.openxmlformats.org/officeDocument/2006/relationships/image" Target="../media/image6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5.xml"/><Relationship Id="rId7" Type="http://schemas.openxmlformats.org/officeDocument/2006/relationships/image" Target="../media/image6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9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12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164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166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16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jpe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1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61.bin"/><Relationship Id="rId9" Type="http://schemas.openxmlformats.org/officeDocument/2006/relationships/image" Target="../media/image3.png"/></Relationships>
</file>

<file path=ppt/slideLayouts/_rels/slideLayout1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0.xml"/><Relationship Id="rId7" Type="http://schemas.openxmlformats.org/officeDocument/2006/relationships/image" Target="../media/image6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4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2.xml"/><Relationship Id="rId7" Type="http://schemas.openxmlformats.org/officeDocument/2006/relationships/image" Target="../media/image6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4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4.xml"/><Relationship Id="rId7" Type="http://schemas.openxmlformats.org/officeDocument/2006/relationships/image" Target="../media/image6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6.xml"/><Relationship Id="rId7" Type="http://schemas.openxmlformats.org/officeDocument/2006/relationships/image" Target="../media/image6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8.xml"/><Relationship Id="rId7" Type="http://schemas.openxmlformats.org/officeDocument/2006/relationships/image" Target="../media/image6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0.xml"/><Relationship Id="rId7" Type="http://schemas.openxmlformats.org/officeDocument/2006/relationships/image" Target="../media/image6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2.xml"/><Relationship Id="rId7" Type="http://schemas.openxmlformats.org/officeDocument/2006/relationships/image" Target="../media/image6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4.xml"/><Relationship Id="rId7" Type="http://schemas.openxmlformats.org/officeDocument/2006/relationships/image" Target="../media/image6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6.xml"/><Relationship Id="rId7" Type="http://schemas.openxmlformats.org/officeDocument/2006/relationships/image" Target="../media/image6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8.xml"/><Relationship Id="rId7" Type="http://schemas.openxmlformats.org/officeDocument/2006/relationships/image" Target="../media/image6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0.xml"/><Relationship Id="rId7" Type="http://schemas.openxmlformats.org/officeDocument/2006/relationships/image" Target="../media/image6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2.xml"/><Relationship Id="rId7" Type="http://schemas.openxmlformats.org/officeDocument/2006/relationships/image" Target="../media/image6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5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4.xml"/><Relationship Id="rId7" Type="http://schemas.openxmlformats.org/officeDocument/2006/relationships/image" Target="../media/image6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6.xml"/><Relationship Id="rId7" Type="http://schemas.openxmlformats.org/officeDocument/2006/relationships/image" Target="../media/image6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6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8.xml"/><Relationship Id="rId7" Type="http://schemas.openxmlformats.org/officeDocument/2006/relationships/image" Target="../media/image6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6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0.xml"/><Relationship Id="rId7" Type="http://schemas.openxmlformats.org/officeDocument/2006/relationships/image" Target="../media/image6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6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2.xml"/><Relationship Id="rId7" Type="http://schemas.openxmlformats.org/officeDocument/2006/relationships/image" Target="../media/image6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png"/></Relationships>
</file>

<file path=ppt/slideLayouts/_rels/slideLayout16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217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80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7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219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218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0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8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0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6.xml"/><Relationship Id="rId7" Type="http://schemas.microsoft.com/office/2007/relationships/hdphoto" Target="../media/hdphoto1.wdp"/><Relationship Id="rId2" Type="http://schemas.openxmlformats.org/officeDocument/2006/relationships/tags" Target="../tags/tag23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82.bin"/><Relationship Id="rId9" Type="http://schemas.openxmlformats.org/officeDocument/2006/relationships/image" Target="../media/image3.png"/></Relationships>
</file>

<file path=ppt/slideLayouts/_rels/slideLayout18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3.xml"/><Relationship Id="rId7" Type="http://schemas.openxmlformats.org/officeDocument/2006/relationships/image" Target="../media/image6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8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5.xml"/><Relationship Id="rId7" Type="http://schemas.openxmlformats.org/officeDocument/2006/relationships/image" Target="../media/image6.png"/><Relationship Id="rId2" Type="http://schemas.openxmlformats.org/officeDocument/2006/relationships/tags" Target="../tags/tag23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8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7.xml"/><Relationship Id="rId7" Type="http://schemas.openxmlformats.org/officeDocument/2006/relationships/image" Target="../media/image6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8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9.xml"/><Relationship Id="rId7" Type="http://schemas.openxmlformats.org/officeDocument/2006/relationships/image" Target="../media/image6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8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1.xml"/><Relationship Id="rId7" Type="http://schemas.openxmlformats.org/officeDocument/2006/relationships/image" Target="../media/image6.png"/><Relationship Id="rId2" Type="http://schemas.openxmlformats.org/officeDocument/2006/relationships/tags" Target="../tags/tag24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3.xml"/><Relationship Id="rId7" Type="http://schemas.openxmlformats.org/officeDocument/2006/relationships/image" Target="../media/image6.png"/><Relationship Id="rId2" Type="http://schemas.openxmlformats.org/officeDocument/2006/relationships/tags" Target="../tags/tag242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5.xml"/><Relationship Id="rId7" Type="http://schemas.openxmlformats.org/officeDocument/2006/relationships/image" Target="../media/image6.png"/><Relationship Id="rId2" Type="http://schemas.openxmlformats.org/officeDocument/2006/relationships/tags" Target="../tags/tag244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7.xml"/><Relationship Id="rId7" Type="http://schemas.openxmlformats.org/officeDocument/2006/relationships/image" Target="../media/image6.png"/><Relationship Id="rId2" Type="http://schemas.openxmlformats.org/officeDocument/2006/relationships/tags" Target="../tags/tag246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9.xml"/><Relationship Id="rId7" Type="http://schemas.openxmlformats.org/officeDocument/2006/relationships/image" Target="../media/image6.png"/><Relationship Id="rId2" Type="http://schemas.openxmlformats.org/officeDocument/2006/relationships/tags" Target="../tags/tag24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1.xml"/><Relationship Id="rId7" Type="http://schemas.openxmlformats.org/officeDocument/2006/relationships/image" Target="../media/image6.png"/><Relationship Id="rId2" Type="http://schemas.openxmlformats.org/officeDocument/2006/relationships/tags" Target="../tags/tag250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3.xml"/><Relationship Id="rId7" Type="http://schemas.openxmlformats.org/officeDocument/2006/relationships/image" Target="../media/image6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5.xml"/><Relationship Id="rId7" Type="http://schemas.openxmlformats.org/officeDocument/2006/relationships/image" Target="../media/image6.png"/><Relationship Id="rId2" Type="http://schemas.openxmlformats.org/officeDocument/2006/relationships/tags" Target="../tags/tag25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7.xml"/><Relationship Id="rId7" Type="http://schemas.openxmlformats.org/officeDocument/2006/relationships/image" Target="../media/image6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9.xml"/><Relationship Id="rId7" Type="http://schemas.openxmlformats.org/officeDocument/2006/relationships/image" Target="../media/image6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19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1.xml"/><Relationship Id="rId7" Type="http://schemas.openxmlformats.org/officeDocument/2006/relationships/image" Target="../media/image6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0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3.xml"/><Relationship Id="rId7" Type="http://schemas.openxmlformats.org/officeDocument/2006/relationships/image" Target="../media/image6.png"/><Relationship Id="rId2" Type="http://schemas.openxmlformats.org/officeDocument/2006/relationships/tags" Target="../tags/tag262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20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65.xml"/><Relationship Id="rId7" Type="http://schemas.openxmlformats.org/officeDocument/2006/relationships/image" Target="../media/image6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3.png"/></Relationships>
</file>

<file path=ppt/slideLayouts/_rels/slideLayout20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270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101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7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272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271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0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5.jpe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6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9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0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1.xml"/></Relationships>
</file>

<file path=ppt/slideLayouts/_rels/slideLayout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3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7.xml"/><Relationship Id="rId7" Type="http://schemas.microsoft.com/office/2007/relationships/hdphoto" Target="../media/hdphoto1.wdp"/><Relationship Id="rId2" Type="http://schemas.openxmlformats.org/officeDocument/2006/relationships/tags" Target="../tags/tag28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103.bin"/><Relationship Id="rId9" Type="http://schemas.openxmlformats.org/officeDocument/2006/relationships/image" Target="../media/image3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5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Layouts/_rels/slideLayout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31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5.xml"/><Relationship Id="rId7" Type="http://schemas.openxmlformats.org/officeDocument/2006/relationships/image" Target="../media/image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7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7.xml"/><Relationship Id="rId7" Type="http://schemas.openxmlformats.org/officeDocument/2006/relationships/image" Target="../media/image6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9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1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3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5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7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5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72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74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8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10" Type="http://schemas.openxmlformats.org/officeDocument/2006/relationships/image" Target="../media/image4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3.png"/></Relationships>
</file>

<file path=ppt/slideLayouts/_rels/slideLayout7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88.xml"/><Relationship Id="rId7" Type="http://schemas.openxmlformats.org/officeDocument/2006/relationships/image" Target="../media/image6.png"/><Relationship Id="rId2" Type="http://schemas.openxmlformats.org/officeDocument/2006/relationships/tags" Target="../tags/tag8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0.xml"/><Relationship Id="rId7" Type="http://schemas.openxmlformats.org/officeDocument/2006/relationships/image" Target="../media/image6.png"/><Relationship Id="rId2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2.xml"/><Relationship Id="rId7" Type="http://schemas.openxmlformats.org/officeDocument/2006/relationships/image" Target="../media/image6.png"/><Relationship Id="rId2" Type="http://schemas.openxmlformats.org/officeDocument/2006/relationships/tags" Target="../tags/tag9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4.xml"/><Relationship Id="rId7" Type="http://schemas.openxmlformats.org/officeDocument/2006/relationships/image" Target="../media/image6.png"/><Relationship Id="rId2" Type="http://schemas.openxmlformats.org/officeDocument/2006/relationships/tags" Target="../tags/tag9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6.xml"/><Relationship Id="rId7" Type="http://schemas.openxmlformats.org/officeDocument/2006/relationships/image" Target="../media/image6.png"/><Relationship Id="rId2" Type="http://schemas.openxmlformats.org/officeDocument/2006/relationships/tags" Target="../tags/tag9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8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0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2.xml"/><Relationship Id="rId7" Type="http://schemas.openxmlformats.org/officeDocument/2006/relationships/image" Target="../media/image6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4.xml"/><Relationship Id="rId7" Type="http://schemas.openxmlformats.org/officeDocument/2006/relationships/image" Target="../media/image6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6.xml"/><Relationship Id="rId7" Type="http://schemas.openxmlformats.org/officeDocument/2006/relationships/image" Target="../media/image6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jpeg"/><Relationship Id="rId3" Type="http://schemas.openxmlformats.org/officeDocument/2006/relationships/tags" Target="../tags/tag111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image" Target="../media/image4.sv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3" Type="http://schemas.openxmlformats.org/officeDocument/2006/relationships/tags" Target="../tags/tag113.xml"/><Relationship Id="rId7" Type="http://schemas.openxmlformats.org/officeDocument/2006/relationships/image" Target="../media/image6.png"/><Relationship Id="rId12" Type="http://schemas.openxmlformats.org/officeDocument/2006/relationships/image" Target="../media/image13.jpeg"/><Relationship Id="rId2" Type="http://schemas.openxmlformats.org/officeDocument/2006/relationships/tags" Target="../tags/tag11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4.sv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Relationship Id="rId14" Type="http://schemas.openxmlformats.org/officeDocument/2006/relationships/image" Target="../media/image15.jpe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254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99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15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350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151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171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63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945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037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084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086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31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81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9581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255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829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9097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7878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325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2410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683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6289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0925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0635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322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3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3504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2322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5685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755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1821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4687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0479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2755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6054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4592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490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790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973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3219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23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0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03498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957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9637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680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5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24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3332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0339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0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443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10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52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54323609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627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23259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8541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3364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1683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508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49190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01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38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96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950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084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986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8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860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973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728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240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974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378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273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098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11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10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627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945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691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2415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6175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5798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633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32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0931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2754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8713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2063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1970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388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9321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5850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2145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353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932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34072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9078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0578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6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759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136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9277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047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1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0734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123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681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8070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6540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5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7541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368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8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5945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8972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267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26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07624790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370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16779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3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7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71452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9663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54438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976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72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71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5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17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76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980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997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9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257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6934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49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6343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954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544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654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507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0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75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0365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4025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555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785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7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3883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229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9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982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5761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2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9943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162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0475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4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3972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708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987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009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929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605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1704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561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9331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192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3366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82769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8053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62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7159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6132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2945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4099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6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1499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78720827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413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502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580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8343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1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4723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650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2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65828488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079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51112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8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63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00003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171863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1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199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81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42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644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505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051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517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12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45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98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091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15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0781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92500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037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888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73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0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747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_Titel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ECC2A14C-C046-4FAB-8581-CE7960EE32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6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ext für die Fußzei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6A4D676-D9E2-43B8-802F-98739B708B9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768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89516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0141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675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85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87711660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281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55443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010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1779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0207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411659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5118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0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6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59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618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70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5060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228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771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841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95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3597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6546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533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943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410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774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323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42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280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0098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175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9138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7717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5036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4014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4479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5989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5632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980333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6517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2506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70240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4042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8648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3384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87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1288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5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705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7474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92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9571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8803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68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65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22574132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443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04739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22661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122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65720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4729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346160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09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10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26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06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79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190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-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4192621"/>
            <a:ext cx="3198115" cy="1138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8319434" y="5826868"/>
            <a:ext cx="3217570" cy="464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E59BF-B1BF-4A9F-86C8-5E7FB106183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213D-C034-413B-B18B-1234831DB1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597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96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AA893A-AEE8-4BDE-90D3-3E3465F38FB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F222F-BDC0-4627-96EB-11AAFFACD7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647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AD42E2-67EE-4575-89A1-FF3322FD3AC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13AF07-978E-4A6E-8DCE-ED2FE7EAFDB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265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46831" cy="5685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5BB408-D0FB-4A03-A463-682A9059F1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F20700-FBF6-4DA8-9355-D7050D65947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143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F9D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US" sz="475" kern="0" noProof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FF0000"/>
                </a:solidFill>
              </a:endParaRPr>
            </a:p>
          </p:txBody>
        </p:sp>
      </p:grpSp>
      <p:sp>
        <p:nvSpPr>
          <p:cNvPr id="141" name="Switzerland" descr="© INSCALE GmbH, 05.05.2010&#10;http://www.presentationload.com/">
            <a:extLst>
              <a:ext uri="{FF2B5EF4-FFF2-40B4-BE49-F238E27FC236}">
                <a16:creationId xmlns:a16="http://schemas.microsoft.com/office/drawing/2014/main" id="{51725404-C26D-42E4-8B25-F7BBC2D65EA7}"/>
              </a:ext>
            </a:extLst>
          </p:cNvPr>
          <p:cNvSpPr>
            <a:spLocks/>
          </p:cNvSpPr>
          <p:nvPr/>
        </p:nvSpPr>
        <p:spPr bwMode="gray">
          <a:xfrm>
            <a:off x="5752116" y="2546406"/>
            <a:ext cx="127543" cy="70857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9FAE9C"/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2" name="Spain" descr="© INSCALE GmbH, 05.05.2010&#10;http://www.presentationload.com/">
            <a:extLst>
              <a:ext uri="{FF2B5EF4-FFF2-40B4-BE49-F238E27FC236}">
                <a16:creationId xmlns:a16="http://schemas.microsoft.com/office/drawing/2014/main" id="{08B56FBA-C85E-4913-8901-F458AAC847B4}"/>
              </a:ext>
            </a:extLst>
          </p:cNvPr>
          <p:cNvSpPr>
            <a:spLocks noEditPoints="1"/>
          </p:cNvSpPr>
          <p:nvPr/>
        </p:nvSpPr>
        <p:spPr bwMode="gray">
          <a:xfrm>
            <a:off x="5310084" y="2691661"/>
            <a:ext cx="387872" cy="276341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3" name="Morocco" descr="© INSCALE GmbH, 05.05.2010&#10;http://www.presentationload.com/">
            <a:extLst>
              <a:ext uri="{FF2B5EF4-FFF2-40B4-BE49-F238E27FC236}">
                <a16:creationId xmlns:a16="http://schemas.microsoft.com/office/drawing/2014/main" id="{862B29EF-27E1-4266-A105-51EBBB3B428C}"/>
              </a:ext>
            </a:extLst>
          </p:cNvPr>
          <p:cNvSpPr>
            <a:spLocks/>
          </p:cNvSpPr>
          <p:nvPr/>
        </p:nvSpPr>
        <p:spPr bwMode="gray">
          <a:xfrm>
            <a:off x="5159832" y="2977807"/>
            <a:ext cx="375641" cy="297598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4" name="France" descr="© INSCALE GmbH, 05.05.2010&#10;http://www.presentationload.com/">
            <a:extLst>
              <a:ext uri="{FF2B5EF4-FFF2-40B4-BE49-F238E27FC236}">
                <a16:creationId xmlns:a16="http://schemas.microsoft.com/office/drawing/2014/main" id="{552D411A-F1A8-4CF4-B403-E5EC70D2F546}"/>
              </a:ext>
            </a:extLst>
          </p:cNvPr>
          <p:cNvSpPr>
            <a:spLocks noEditPoints="1"/>
          </p:cNvSpPr>
          <p:nvPr/>
        </p:nvSpPr>
        <p:spPr bwMode="gray">
          <a:xfrm>
            <a:off x="5448108" y="2427719"/>
            <a:ext cx="403597" cy="352511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45" name="Portugal" descr="© INSCALE GmbH, 05.05.2010&#10;http://www.presentationload.com/">
            <a:extLst>
              <a:ext uri="{FF2B5EF4-FFF2-40B4-BE49-F238E27FC236}">
                <a16:creationId xmlns:a16="http://schemas.microsoft.com/office/drawing/2014/main" id="{F7AB1737-15CD-491D-848C-33E69F982958}"/>
              </a:ext>
            </a:extLst>
          </p:cNvPr>
          <p:cNvSpPr>
            <a:spLocks/>
          </p:cNvSpPr>
          <p:nvPr/>
        </p:nvSpPr>
        <p:spPr bwMode="gray">
          <a:xfrm>
            <a:off x="5294358" y="2751886"/>
            <a:ext cx="101336" cy="184227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93A690">
              <a:alpha val="8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US" sz="475" kern="0" noProof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US" sz="515" kern="0" noProof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317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US" sz="475" kern="0" noProof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834233" y="1421312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327010" y="893171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40379" y="2261828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CFA049-F412-443F-9232-C8DCBF9D5C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1A2349-3827-41B7-9443-497706317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792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247C3-E00E-4486-B2C0-63626F8014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C8581E-AA58-4CA6-BEF8-680A395A99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479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743D32-EB1E-4C7B-ACE2-33247B7AE6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154EF8-827C-4842-9D15-EB717B895C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798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walk_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831D87-B327-4123-9B28-3E7695F6DC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EEC21FE-E1E1-40B5-B43A-E8D6D593AB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179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5B5DA95-D08C-42AD-A45D-0F6DA8EB2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633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5B5DA95-D08C-42AD-A45D-0F6DA8EB2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6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387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0793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1022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4364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55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553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3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1018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1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7840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756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0006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254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0247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1492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8038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2410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8527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9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0733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2597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18FC9BD-44AA-4A42-952C-F438644EC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9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18FC9BD-44AA-4A42-952C-F438644EC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6059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32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1800" b="0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94B03A2-649E-458F-B4AE-D747377C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0" y="720000"/>
            <a:ext cx="6602540" cy="62428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98D4536-C13D-4D11-84E0-9BC34D25835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589EC0-F43D-4787-87B8-FAAA634081B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15938" y="360000"/>
            <a:ext cx="3199212" cy="79109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sz="40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/>
              <a:t>&lt;Title&gt;</a:t>
            </a: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B6C45BAA-96CB-4D82-97FD-69B2DD1F6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14976" y="790045"/>
            <a:ext cx="6415547" cy="606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18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95C70-212C-4516-9421-E5C08480A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FD10AF-B012-455B-8FD3-927EEF1F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809B63-B9F3-4928-BB98-941F78E5B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6AA943-9DB6-4D15-9F98-A73426F5DAA1}"/>
              </a:ext>
            </a:extLst>
          </p:cNvPr>
          <p:cNvSpPr/>
          <p:nvPr userDrawn="1"/>
        </p:nvSpPr>
        <p:spPr bwMode="gray">
          <a:xfrm>
            <a:off x="1" y="1253662"/>
            <a:ext cx="7823200" cy="48618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grpSp>
        <p:nvGrpSpPr>
          <p:cNvPr id="6" name="Groep 7">
            <a:extLst>
              <a:ext uri="{FF2B5EF4-FFF2-40B4-BE49-F238E27FC236}">
                <a16:creationId xmlns:a16="http://schemas.microsoft.com/office/drawing/2014/main" id="{90E0A2AF-24B0-43F0-884F-A07647540A9F}"/>
              </a:ext>
            </a:extLst>
          </p:cNvPr>
          <p:cNvGrpSpPr/>
          <p:nvPr userDrawn="1"/>
        </p:nvGrpSpPr>
        <p:grpSpPr>
          <a:xfrm>
            <a:off x="140872" y="2172474"/>
            <a:ext cx="7541458" cy="3024228"/>
            <a:chOff x="140872" y="1916886"/>
            <a:chExt cx="7541458" cy="3024228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3AD8CA9-1080-4BFA-8367-E23A9FEEFC68}"/>
                </a:ext>
              </a:extLst>
            </p:cNvPr>
            <p:cNvGrpSpPr/>
            <p:nvPr/>
          </p:nvGrpSpPr>
          <p:grpSpPr>
            <a:xfrm>
              <a:off x="140872" y="1916886"/>
              <a:ext cx="7541458" cy="3024228"/>
              <a:chOff x="156117" y="2172474"/>
              <a:chExt cx="7541458" cy="3024228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D5893A1D-DC63-4FAB-89B2-A520CA787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6117" y="2172474"/>
                <a:ext cx="7541458" cy="3024228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7B161301-3BAC-4F22-BF03-49C64EC2970A}"/>
                  </a:ext>
                </a:extLst>
              </p:cNvPr>
              <p:cNvSpPr/>
              <p:nvPr/>
            </p:nvSpPr>
            <p:spPr bwMode="gray">
              <a:xfrm>
                <a:off x="5691188" y="2273300"/>
                <a:ext cx="1176337" cy="2428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180000" indent="-180000" algn="ctr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endParaRPr lang="de-DE" sz="1400" err="1"/>
              </a:p>
            </p:txBody>
          </p:sp>
        </p:grpSp>
        <p:pic>
          <p:nvPicPr>
            <p:cNvPr id="8" name="Grafik 7" descr="Ein Bild, das Zeichnung, Schild enthält.&#10;&#10;Automatisch generierte Beschreibung">
              <a:extLst>
                <a:ext uri="{FF2B5EF4-FFF2-40B4-BE49-F238E27FC236}">
                  <a16:creationId xmlns:a16="http://schemas.microsoft.com/office/drawing/2014/main" id="{92F56057-D65D-4855-BC48-80739A568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33664" y="2019226"/>
              <a:ext cx="1060894" cy="262336"/>
            </a:xfrm>
            <a:prstGeom prst="rect">
              <a:avLst/>
            </a:prstGeom>
          </p:spPr>
        </p:pic>
      </p:grp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D001254-65EC-44BC-ADE6-B1D16A3434A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71049352"/>
              </p:ext>
            </p:extLst>
          </p:nvPr>
        </p:nvGraphicFramePr>
        <p:xfrm>
          <a:off x="8093870" y="1992948"/>
          <a:ext cx="3809608" cy="33832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8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L="36000" marR="180000" marT="36000" marB="36000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de-DE" sz="1400" b="1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  <a:p>
                      <a:pPr algn="r">
                        <a:spcAft>
                          <a:spcPts val="600"/>
                        </a:spcAft>
                      </a:pPr>
                      <a:r>
                        <a:rPr lang="de-DE" sz="1200" i="1">
                          <a:solidFill>
                            <a:schemeClr val="tx1"/>
                          </a:solidFill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4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69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5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. Mustermann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2400" b="1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 marL="36000" marR="180000" marT="36000" marB="36000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 &amp; A</a:t>
                      </a:r>
                    </a:p>
                    <a:p>
                      <a:pPr marL="0" algn="r" defTabSz="121917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12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EBAA0-A9E0-437C-A5E4-05030964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DFE986-14EB-47F2-A0D0-D052A4C6F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13F582-404D-4AC3-91D8-E928FB4C3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B6AA9D45-8419-4EA9-B28B-4EE34A2FE3EC}"/>
              </a:ext>
            </a:extLst>
          </p:cNvPr>
          <p:cNvSpPr/>
          <p:nvPr/>
        </p:nvSpPr>
        <p:spPr bwMode="gray">
          <a:xfrm>
            <a:off x="0" y="1315560"/>
            <a:ext cx="7645991" cy="47998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D491CD4-FED7-45AF-A416-FE0AFF285C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89814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PLATFORM_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20AD84-675D-4E13-BDC1-7562E4265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82537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20AD84-675D-4E13-BDC1-7562E426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KRA 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BAE8B8D-4D84-4894-9777-77756F1E3114}"/>
              </a:ext>
            </a:extLst>
          </p:cNvPr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176" y="740094"/>
            <a:ext cx="1047750" cy="272415"/>
          </a:xfrm>
          <a:prstGeom prst="rect">
            <a:avLst/>
          </a:prstGeom>
        </p:spPr>
      </p:pic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29E36AE-BF81-4EA6-A264-8F8CAD419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3200" y="2051775"/>
            <a:ext cx="4167909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315560"/>
            <a:ext cx="7645991" cy="4799830"/>
            <a:chOff x="0" y="1315560"/>
            <a:chExt cx="7645991" cy="4799830"/>
          </a:xfrm>
        </p:grpSpPr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D95626A6-A5FD-4887-B048-CB0CD8012C58}"/>
                </a:ext>
              </a:extLst>
            </p:cNvPr>
            <p:cNvSpPr/>
            <p:nvPr/>
          </p:nvSpPr>
          <p:spPr bwMode="gray">
            <a:xfrm>
              <a:off x="0" y="1315560"/>
              <a:ext cx="7645991" cy="47998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80000" indent="-180000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69871" y="2191698"/>
              <a:ext cx="7306248" cy="2933335"/>
              <a:chOff x="945200" y="1878233"/>
              <a:chExt cx="9574765" cy="3844107"/>
            </a:xfrm>
          </p:grpSpPr>
          <p:grpSp>
            <p:nvGrpSpPr>
              <p:cNvPr id="29" name="Group 9">
                <a:extLst>
                  <a:ext uri="{FF2B5EF4-FFF2-40B4-BE49-F238E27FC236}">
                    <a16:creationId xmlns:a16="http://schemas.microsoft.com/office/drawing/2014/main" id="{64F71230-63EC-4222-8C04-9FECDEDE127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945200" y="1878233"/>
                <a:ext cx="8437289" cy="3719242"/>
                <a:chOff x="885971" y="1511302"/>
                <a:chExt cx="10371811" cy="4571999"/>
              </a:xfrm>
            </p:grpSpPr>
            <p:pic>
              <p:nvPicPr>
                <p:cNvPr id="34" name="Picture 7">
                  <a:extLst>
                    <a:ext uri="{FF2B5EF4-FFF2-40B4-BE49-F238E27FC236}">
                      <a16:creationId xmlns:a16="http://schemas.microsoft.com/office/drawing/2014/main" id="{701D9CB3-0D17-4DDD-BFA1-E90F164426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3907" y="1511302"/>
                  <a:ext cx="4333875" cy="2619375"/>
                </a:xfrm>
                <a:prstGeom prst="rect">
                  <a:avLst/>
                </a:prstGeom>
              </p:spPr>
            </p:pic>
            <p:pic>
              <p:nvPicPr>
                <p:cNvPr id="35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33666" y="4540251"/>
                  <a:ext cx="3981450" cy="1543050"/>
                </a:xfrm>
                <a:prstGeom prst="rect">
                  <a:avLst/>
                </a:prstGeom>
              </p:spPr>
            </p:pic>
            <p:pic>
              <p:nvPicPr>
                <p:cNvPr id="36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971" y="1622427"/>
                  <a:ext cx="4524375" cy="3305175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/>
              <p:cNvGrpSpPr/>
              <p:nvPr userDrawn="1"/>
            </p:nvGrpSpPr>
            <p:grpSpPr>
              <a:xfrm rot="324090">
                <a:off x="7104948" y="3204837"/>
                <a:ext cx="3415017" cy="2517503"/>
                <a:chOff x="781928" y="3498160"/>
                <a:chExt cx="3647926" cy="2689200"/>
              </a:xfrm>
            </p:grpSpPr>
            <p:pic>
              <p:nvPicPr>
                <p:cNvPr id="31" name="Picture 6">
                  <a:extLst>
                    <a:ext uri="{FF2B5EF4-FFF2-40B4-BE49-F238E27FC236}">
                      <a16:creationId xmlns:a16="http://schemas.microsoft.com/office/drawing/2014/main" id="{8FECF585-1913-4650-9BEB-32DABE000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" t="2198" r="39178"/>
                <a:stretch/>
              </p:blipFill>
              <p:spPr>
                <a:xfrm rot="1793139">
                  <a:off x="781928" y="3498160"/>
                  <a:ext cx="2284328" cy="2689200"/>
                </a:xfrm>
                <a:prstGeom prst="snip1Rect">
                  <a:avLst>
                    <a:gd name="adj" fmla="val 50000"/>
                  </a:avLst>
                </a:prstGeom>
              </p:spPr>
            </p:pic>
            <p:pic>
              <p:nvPicPr>
                <p:cNvPr id="32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178" t="22430" r="54824"/>
                <a:stretch/>
              </p:blipFill>
              <p:spPr>
                <a:xfrm>
                  <a:off x="2900819" y="4658875"/>
                  <a:ext cx="756781" cy="1137683"/>
                </a:xfrm>
                <a:prstGeom prst="snip2SameRect">
                  <a:avLst>
                    <a:gd name="adj1" fmla="val 37189"/>
                    <a:gd name="adj2" fmla="val 0"/>
                  </a:avLst>
                </a:prstGeom>
              </p:spPr>
            </p:pic>
            <p:pic>
              <p:nvPicPr>
                <p:cNvPr id="33" name="Picture 5">
                  <a:extLst>
                    <a:ext uri="{FF2B5EF4-FFF2-40B4-BE49-F238E27FC236}">
                      <a16:creationId xmlns:a16="http://schemas.microsoft.com/office/drawing/2014/main" id="{D8C5FB3B-E907-4F3C-863C-A96D49F79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5173"/>
                <a:stretch/>
              </p:blipFill>
              <p:spPr>
                <a:xfrm>
                  <a:off x="3625736" y="4428009"/>
                  <a:ext cx="804118" cy="1255244"/>
                </a:xfrm>
                <a:prstGeom prst="rect">
                  <a:avLst/>
                </a:prstGeom>
              </p:spPr>
            </p:pic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0517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Q&amp;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1FF23-3D78-4E17-9CAD-193FD5585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7A71-7179-4E34-BAC8-F7B453450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CFDF6D-5946-4BFF-9D96-F99AF4926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45200" y="1878233"/>
            <a:ext cx="9574765" cy="3844107"/>
            <a:chOff x="945200" y="1878233"/>
            <a:chExt cx="9574765" cy="3844107"/>
          </a:xfrm>
        </p:grpSpPr>
        <p:grpSp>
          <p:nvGrpSpPr>
            <p:cNvPr id="5" name="Group 9">
              <a:extLst>
                <a:ext uri="{FF2B5EF4-FFF2-40B4-BE49-F238E27FC236}">
                  <a16:creationId xmlns:a16="http://schemas.microsoft.com/office/drawing/2014/main" id="{64F71230-63EC-4222-8C04-9FECDEDE127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45200" y="1878233"/>
              <a:ext cx="8437289" cy="3719242"/>
              <a:chOff x="885971" y="1511302"/>
              <a:chExt cx="10371811" cy="4571999"/>
            </a:xfrm>
          </p:grpSpPr>
          <p:pic>
            <p:nvPicPr>
              <p:cNvPr id="6" name="Picture 7">
                <a:extLst>
                  <a:ext uri="{FF2B5EF4-FFF2-40B4-BE49-F238E27FC236}">
                    <a16:creationId xmlns:a16="http://schemas.microsoft.com/office/drawing/2014/main" id="{701D9CB3-0D17-4DDD-BFA1-E90F16442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3907" y="1511302"/>
                <a:ext cx="4333875" cy="2619375"/>
              </a:xfrm>
              <a:prstGeom prst="rect">
                <a:avLst/>
              </a:prstGeom>
            </p:spPr>
          </p:pic>
          <p:pic>
            <p:nvPicPr>
              <p:cNvPr id="7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3666" y="4540251"/>
                <a:ext cx="3981450" cy="1543050"/>
              </a:xfrm>
              <a:prstGeom prst="rect">
                <a:avLst/>
              </a:prstGeom>
            </p:spPr>
          </p:pic>
          <p:pic>
            <p:nvPicPr>
              <p:cNvPr id="8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971" y="1622427"/>
                <a:ext cx="4524375" cy="33051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 userDrawn="1"/>
          </p:nvGrpSpPr>
          <p:grpSpPr>
            <a:xfrm rot="324090">
              <a:off x="7104948" y="3204837"/>
              <a:ext cx="3415017" cy="2517503"/>
              <a:chOff x="781928" y="3498160"/>
              <a:chExt cx="3647926" cy="2689200"/>
            </a:xfrm>
          </p:grpSpPr>
          <p:pic>
            <p:nvPicPr>
              <p:cNvPr id="10" name="Picture 6">
                <a:extLst>
                  <a:ext uri="{FF2B5EF4-FFF2-40B4-BE49-F238E27FC236}">
                    <a16:creationId xmlns:a16="http://schemas.microsoft.com/office/drawing/2014/main" id="{8FECF585-1913-4650-9BEB-32DABE0001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" t="2198" r="39178"/>
              <a:stretch/>
            </p:blipFill>
            <p:spPr>
              <a:xfrm rot="1793139">
                <a:off x="781928" y="3498160"/>
                <a:ext cx="2284328" cy="2689200"/>
              </a:xfrm>
              <a:prstGeom prst="snip1Rect">
                <a:avLst>
                  <a:gd name="adj" fmla="val 50000"/>
                </a:avLst>
              </a:prstGeom>
            </p:spPr>
          </p:pic>
          <p:pic>
            <p:nvPicPr>
              <p:cNvPr id="11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178" t="22430" r="54824"/>
              <a:stretch/>
            </p:blipFill>
            <p:spPr>
              <a:xfrm>
                <a:off x="2900819" y="4658875"/>
                <a:ext cx="756781" cy="1137683"/>
              </a:xfrm>
              <a:prstGeom prst="snip2SameRect">
                <a:avLst>
                  <a:gd name="adj1" fmla="val 37189"/>
                  <a:gd name="adj2" fmla="val 0"/>
                </a:avLst>
              </a:prstGeom>
            </p:spPr>
          </p:pic>
          <p:pic>
            <p:nvPicPr>
              <p:cNvPr id="12" name="Picture 5">
                <a:extLst>
                  <a:ext uri="{FF2B5EF4-FFF2-40B4-BE49-F238E27FC236}">
                    <a16:creationId xmlns:a16="http://schemas.microsoft.com/office/drawing/2014/main" id="{D8C5FB3B-E907-4F3C-863C-A96D49F799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173"/>
              <a:stretch/>
            </p:blipFill>
            <p:spPr>
              <a:xfrm>
                <a:off x="3625736" y="4428009"/>
                <a:ext cx="804118" cy="12552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6547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LATFORM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DE18B-2C20-4B95-825C-17072A30E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4553F-523A-4E40-A830-D9B0FAF1F5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EDAFF-5AD9-41D1-9BF1-A582BEFC2F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5" name="Grafik 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44A25D49-A5BB-463C-8ACB-A5595F05D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141" t="4840" r="7274" b="8950"/>
          <a:stretch/>
        </p:blipFill>
        <p:spPr>
          <a:xfrm rot="5400000">
            <a:off x="-4554" y="2136645"/>
            <a:ext cx="3977082" cy="2936100"/>
          </a:xfrm>
          <a:prstGeom prst="rect">
            <a:avLst/>
          </a:prstGeom>
        </p:spPr>
      </p:pic>
      <p:pic>
        <p:nvPicPr>
          <p:cNvPr id="6" name="Grafik 5" descr="Ein Bild, das Person, Decke, drinnen, Gruppe enthält.&#10;&#10;Automatisch generierte Beschreibung">
            <a:extLst>
              <a:ext uri="{FF2B5EF4-FFF2-40B4-BE49-F238E27FC236}">
                <a16:creationId xmlns:a16="http://schemas.microsoft.com/office/drawing/2014/main" id="{04C244EE-9BC3-4267-A264-457EDD96B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209" t="33901" b="4600"/>
          <a:stretch/>
        </p:blipFill>
        <p:spPr>
          <a:xfrm>
            <a:off x="3676130" y="1616153"/>
            <a:ext cx="7999933" cy="3976574"/>
          </a:xfrm>
          <a:prstGeom prst="rect">
            <a:avLst/>
          </a:prstGeom>
        </p:spPr>
      </p:pic>
      <p:sp>
        <p:nvSpPr>
          <p:cNvPr id="7" name="Tekstvak 1">
            <a:extLst>
              <a:ext uri="{FF2B5EF4-FFF2-40B4-BE49-F238E27FC236}">
                <a16:creationId xmlns:a16="http://schemas.microsoft.com/office/drawing/2014/main" id="{2EE9AA09-D770-4E16-9942-48B5E81E0644}"/>
              </a:ext>
            </a:extLst>
          </p:cNvPr>
          <p:cNvSpPr txBox="1"/>
          <p:nvPr userDrawn="1"/>
        </p:nvSpPr>
        <p:spPr bwMode="gray">
          <a:xfrm>
            <a:off x="3676130" y="5654234"/>
            <a:ext cx="7999933" cy="6309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Back row: Oliver, Eric, Stefan, Tobias, Peter, Thomas, Jörg, Dierk, Tim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Middle row: Laura, Martin, Holger, Tabea, Sebastien, Mario, Holger</a:t>
            </a:r>
          </a:p>
          <a:p>
            <a:pPr algn="ctr">
              <a:spcAft>
                <a:spcPts val="300"/>
              </a:spcAft>
              <a:buClr>
                <a:schemeClr val="accent1"/>
              </a:buClr>
            </a:pPr>
            <a:r>
              <a:rPr lang="nl-NL" sz="1200">
                <a:cs typeface="Arial"/>
              </a:rPr>
              <a:t>Front row: Sean, Axel, Gavin, Menno, Cevin, Stefan, Clemens, Kathrin</a:t>
            </a:r>
          </a:p>
        </p:txBody>
      </p:sp>
    </p:spTree>
    <p:extLst>
      <p:ext uri="{BB962C8B-B14F-4D97-AF65-F5344CB8AC3E}">
        <p14:creationId xmlns:p14="http://schemas.microsoft.com/office/powerpoint/2010/main" val="187119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-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B0E96E9-3EDD-4C99-B004-A26F00A0D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image by clic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385A69-6D22-4332-A322-8B559C5055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117132-E1EC-42E8-BBFE-92C78C654E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AE5022-4978-4497-9C3C-F5138E32AF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66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EE088958-FEA4-4DF4-89B9-0E39618996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1E7FC7-03AB-4C60-BB05-D63FD67EA34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893EEBA-7BC6-4704-933F-020CCE1B44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CD51D2-78FC-487D-8B3F-667CA83A2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3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63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F8869A8-3F46-4C51-9441-342310D1F5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441917-1E4A-4AE5-B823-05577D949D5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EDA99D9-D4AF-474D-A867-C01B338B245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6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E0E1A7-66A1-4C10-8E0C-3E64C153A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D8DF1E-5ED8-4725-A0E4-70DBC5475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947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DE8E8-2E79-4761-B826-2C067CE4E62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2F26431-3438-4684-8AEC-9E2F80B019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7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-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onten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50AC48-E7EB-45C3-9BEB-A0B956BD29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0717162-8273-4DE2-B2D1-0DB359ECCF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190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33" Type="http://schemas.openxmlformats.org/officeDocument/2006/relationships/image" Target="../media/image4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oleObject" Target="../embeddings/oleObject7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theme" Target="../theme/theme2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tags" Target="../tags/tag27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tags" Target="../tags/tag2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image" Target="../media/image5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vmlDrawing" Target="../drawings/vmlDrawing7.vml"/><Relationship Id="rId43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34" Type="http://schemas.openxmlformats.org/officeDocument/2006/relationships/tags" Target="../tags/tag68.xml"/><Relationship Id="rId42" Type="http://schemas.openxmlformats.org/officeDocument/2006/relationships/image" Target="../media/image5.png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vmlDrawing" Target="../drawings/vmlDrawing23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41" Type="http://schemas.openxmlformats.org/officeDocument/2006/relationships/image" Target="../media/image4.sv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theme" Target="../theme/theme3.xml"/><Relationship Id="rId37" Type="http://schemas.openxmlformats.org/officeDocument/2006/relationships/oleObject" Target="../embeddings/oleObject23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tags" Target="../tags/tag70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tags" Target="../tags/tag6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tags" Target="../tags/tag108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tags" Target="../tags/tag10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vmlDrawing" Target="../drawings/vmlDrawing37.v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oleObject" Target="../embeddings/oleObject37.bin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tags" Target="../tags/tag109.xml"/><Relationship Id="rId48" Type="http://schemas.openxmlformats.org/officeDocument/2006/relationships/image" Target="../media/image4.svg"/><Relationship Id="rId8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theme" Target="../theme/theme5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tags" Target="../tags/tag161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41" Type="http://schemas.openxmlformats.org/officeDocument/2006/relationships/tags" Target="../tags/tag160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vmlDrawing" Target="../drawings/vmlDrawing58.v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4" Type="http://schemas.openxmlformats.org/officeDocument/2006/relationships/oleObject" Target="../embeddings/oleObject58.bin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tags" Target="../tags/tag162.xml"/><Relationship Id="rId48" Type="http://schemas.openxmlformats.org/officeDocument/2006/relationships/image" Target="../media/image4.svg"/><Relationship Id="rId8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9" Type="http://schemas.openxmlformats.org/officeDocument/2006/relationships/theme" Target="../theme/theme6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34" Type="http://schemas.openxmlformats.org/officeDocument/2006/relationships/slideLayout" Target="../slideLayouts/slideLayout197.xml"/><Relationship Id="rId42" Type="http://schemas.openxmlformats.org/officeDocument/2006/relationships/tags" Target="../tags/tag214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slideLayout" Target="../slideLayouts/slideLayout196.xml"/><Relationship Id="rId38" Type="http://schemas.openxmlformats.org/officeDocument/2006/relationships/slideLayout" Target="../slideLayouts/slideLayout201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41" Type="http://schemas.openxmlformats.org/officeDocument/2006/relationships/tags" Target="../tags/tag213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slideLayout" Target="../slideLayouts/slideLayout195.xml"/><Relationship Id="rId37" Type="http://schemas.openxmlformats.org/officeDocument/2006/relationships/slideLayout" Target="../slideLayouts/slideLayout200.xml"/><Relationship Id="rId40" Type="http://schemas.openxmlformats.org/officeDocument/2006/relationships/vmlDrawing" Target="../drawings/vmlDrawing79.v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36" Type="http://schemas.openxmlformats.org/officeDocument/2006/relationships/slideLayout" Target="../slideLayouts/slideLayout199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194.xml"/><Relationship Id="rId44" Type="http://schemas.openxmlformats.org/officeDocument/2006/relationships/oleObject" Target="../embeddings/oleObject79.bin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slideLayout" Target="../slideLayouts/slideLayout193.xml"/><Relationship Id="rId35" Type="http://schemas.openxmlformats.org/officeDocument/2006/relationships/slideLayout" Target="../slideLayouts/slideLayout198.xml"/><Relationship Id="rId43" Type="http://schemas.openxmlformats.org/officeDocument/2006/relationships/tags" Target="../tags/tag215.xml"/><Relationship Id="rId48" Type="http://schemas.openxmlformats.org/officeDocument/2006/relationships/image" Target="../media/image4.svg"/><Relationship Id="rId8" Type="http://schemas.openxmlformats.org/officeDocument/2006/relationships/slideLayout" Target="../slideLayouts/slideLayout1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26" Type="http://schemas.openxmlformats.org/officeDocument/2006/relationships/tags" Target="../tags/tag267.xml"/><Relationship Id="rId3" Type="http://schemas.openxmlformats.org/officeDocument/2006/relationships/slideLayout" Target="../slideLayouts/slideLayout204.xml"/><Relationship Id="rId21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5" Type="http://schemas.openxmlformats.org/officeDocument/2006/relationships/tags" Target="../tags/tag266.xml"/><Relationship Id="rId33" Type="http://schemas.openxmlformats.org/officeDocument/2006/relationships/image" Target="../media/image5.png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slideLayout" Target="../slideLayouts/slideLayout22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24" Type="http://schemas.openxmlformats.org/officeDocument/2006/relationships/vmlDrawing" Target="../drawings/vmlDrawing100.vml"/><Relationship Id="rId32" Type="http://schemas.openxmlformats.org/officeDocument/2006/relationships/image" Target="../media/image4.svg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23" Type="http://schemas.openxmlformats.org/officeDocument/2006/relationships/theme" Target="../theme/theme7.xml"/><Relationship Id="rId28" Type="http://schemas.openxmlformats.org/officeDocument/2006/relationships/oleObject" Target="../embeddings/oleObject100.bin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Relationship Id="rId22" Type="http://schemas.openxmlformats.org/officeDocument/2006/relationships/slideLayout" Target="../slideLayouts/slideLayout223.xml"/><Relationship Id="rId27" Type="http://schemas.openxmlformats.org/officeDocument/2006/relationships/tags" Target="../tags/tag26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210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86460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63" r:id="rId2"/>
    <p:sldLayoutId id="2147483965" r:id="rId3"/>
    <p:sldLayoutId id="2147483961" r:id="rId4"/>
    <p:sldLayoutId id="2147483962" r:id="rId5"/>
    <p:sldLayoutId id="214748396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66" r:id="rId21"/>
    <p:sldLayoutId id="2147483967" r:id="rId22"/>
    <p:sldLayoutId id="2147483968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4044299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2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36"/>
    </p:custDataLst>
    <p:extLst>
      <p:ext uri="{BB962C8B-B14F-4D97-AF65-F5344CB8AC3E}">
        <p14:creationId xmlns:p14="http://schemas.microsoft.com/office/powerpoint/2010/main" val="2927987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4004" r:id="rId22"/>
    <p:sldLayoutId id="2147484003" r:id="rId23"/>
    <p:sldLayoutId id="2147484002" r:id="rId24"/>
    <p:sldLayoutId id="2147484001" r:id="rId25"/>
    <p:sldLayoutId id="2147484000" r:id="rId26"/>
    <p:sldLayoutId id="2147483999" r:id="rId27"/>
    <p:sldLayoutId id="2147483998" r:id="rId28"/>
    <p:sldLayoutId id="2147483997" r:id="rId29"/>
    <p:sldLayoutId id="2147483996" r:id="rId30"/>
    <p:sldLayoutId id="2147483995" r:id="rId31"/>
    <p:sldLayoutId id="2147483994" r:id="rId32"/>
    <p:sldLayoutId id="2147483992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28689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6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34"/>
    </p:custDataLst>
    <p:extLst>
      <p:ext uri="{BB962C8B-B14F-4D97-AF65-F5344CB8AC3E}">
        <p14:creationId xmlns:p14="http://schemas.microsoft.com/office/powerpoint/2010/main" val="1850244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  <p:sldLayoutId id="2147484050" r:id="rId22"/>
    <p:sldLayoutId id="2147484047" r:id="rId23"/>
    <p:sldLayoutId id="2147484046" r:id="rId24"/>
    <p:sldLayoutId id="2147484045" r:id="rId25"/>
    <p:sldLayoutId id="2147484044" r:id="rId26"/>
    <p:sldLayoutId id="2147484043" r:id="rId27"/>
    <p:sldLayoutId id="2147484042" r:id="rId28"/>
    <p:sldLayoutId id="2147484040" r:id="rId29"/>
    <p:sldLayoutId id="2147484038" r:id="rId30"/>
    <p:sldLayoutId id="2147484051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878595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22" name="think-cell Slide" r:id="rId44" imgW="360" imgH="360" progId="TCLayout.ActiveDocument.1">
                  <p:embed/>
                </p:oleObj>
              </mc:Choice>
              <mc:Fallback>
                <p:oleObj name="think-cell Slide" r:id="rId4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4269087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  <p:sldLayoutId id="2147484069" r:id="rId17"/>
    <p:sldLayoutId id="2147484070" r:id="rId18"/>
    <p:sldLayoutId id="2147484071" r:id="rId19"/>
    <p:sldLayoutId id="2147484072" r:id="rId20"/>
    <p:sldLayoutId id="2147484073" r:id="rId21"/>
    <p:sldLayoutId id="2147484099" r:id="rId22"/>
    <p:sldLayoutId id="2147484098" r:id="rId23"/>
    <p:sldLayoutId id="2147484097" r:id="rId24"/>
    <p:sldLayoutId id="2147484096" r:id="rId25"/>
    <p:sldLayoutId id="2147484095" r:id="rId26"/>
    <p:sldLayoutId id="2147484094" r:id="rId27"/>
    <p:sldLayoutId id="2147484093" r:id="rId28"/>
    <p:sldLayoutId id="2147484092" r:id="rId29"/>
    <p:sldLayoutId id="2147484091" r:id="rId30"/>
    <p:sldLayoutId id="2147484090" r:id="rId31"/>
    <p:sldLayoutId id="2147484089" r:id="rId32"/>
    <p:sldLayoutId id="2147484088" r:id="rId33"/>
    <p:sldLayoutId id="2147484087" r:id="rId34"/>
    <p:sldLayoutId id="2147484086" r:id="rId35"/>
    <p:sldLayoutId id="2147484085" r:id="rId36"/>
    <p:sldLayoutId id="2147484082" r:id="rId37"/>
    <p:sldLayoutId id="2147484083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835572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26" name="think-cell Slide" r:id="rId44" imgW="360" imgH="360" progId="TCLayout.ActiveDocument.1">
                  <p:embed/>
                </p:oleObj>
              </mc:Choice>
              <mc:Fallback>
                <p:oleObj name="think-cell Slide" r:id="rId4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296463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  <p:sldLayoutId id="2147484116" r:id="rId16"/>
    <p:sldLayoutId id="2147484117" r:id="rId17"/>
    <p:sldLayoutId id="2147484118" r:id="rId18"/>
    <p:sldLayoutId id="2147484119" r:id="rId19"/>
    <p:sldLayoutId id="2147484120" r:id="rId20"/>
    <p:sldLayoutId id="2147484121" r:id="rId21"/>
    <p:sldLayoutId id="2147484154" r:id="rId22"/>
    <p:sldLayoutId id="2147484153" r:id="rId23"/>
    <p:sldLayoutId id="2147484152" r:id="rId24"/>
    <p:sldLayoutId id="2147484151" r:id="rId25"/>
    <p:sldLayoutId id="2147484150" r:id="rId26"/>
    <p:sldLayoutId id="2147484149" r:id="rId27"/>
    <p:sldLayoutId id="2147484148" r:id="rId28"/>
    <p:sldLayoutId id="2147484147" r:id="rId29"/>
    <p:sldLayoutId id="2147484146" r:id="rId30"/>
    <p:sldLayoutId id="2147484145" r:id="rId31"/>
    <p:sldLayoutId id="2147484144" r:id="rId32"/>
    <p:sldLayoutId id="2147484143" r:id="rId33"/>
    <p:sldLayoutId id="2147484142" r:id="rId34"/>
    <p:sldLayoutId id="2147484141" r:id="rId35"/>
    <p:sldLayoutId id="2147484140" r:id="rId36"/>
    <p:sldLayoutId id="2147484137" r:id="rId37"/>
    <p:sldLayoutId id="2147484138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59349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30" name="think-cell Slide" r:id="rId44" imgW="360" imgH="360" progId="TCLayout.ActiveDocument.1">
                  <p:embed/>
                </p:oleObj>
              </mc:Choice>
              <mc:Fallback>
                <p:oleObj name="think-cell Slide" r:id="rId4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125760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  <p:sldLayoutId id="2147484167" r:id="rId12"/>
    <p:sldLayoutId id="2147484168" r:id="rId13"/>
    <p:sldLayoutId id="2147484169" r:id="rId14"/>
    <p:sldLayoutId id="2147484170" r:id="rId15"/>
    <p:sldLayoutId id="2147484171" r:id="rId16"/>
    <p:sldLayoutId id="2147484172" r:id="rId17"/>
    <p:sldLayoutId id="2147484173" r:id="rId18"/>
    <p:sldLayoutId id="2147484174" r:id="rId19"/>
    <p:sldLayoutId id="2147484175" r:id="rId20"/>
    <p:sldLayoutId id="2147484176" r:id="rId21"/>
    <p:sldLayoutId id="2147484209" r:id="rId22"/>
    <p:sldLayoutId id="2147484208" r:id="rId23"/>
    <p:sldLayoutId id="2147484207" r:id="rId24"/>
    <p:sldLayoutId id="2147484206" r:id="rId25"/>
    <p:sldLayoutId id="2147484205" r:id="rId26"/>
    <p:sldLayoutId id="2147484204" r:id="rId27"/>
    <p:sldLayoutId id="2147484203" r:id="rId28"/>
    <p:sldLayoutId id="2147484202" r:id="rId29"/>
    <p:sldLayoutId id="2147484201" r:id="rId30"/>
    <p:sldLayoutId id="2147484200" r:id="rId31"/>
    <p:sldLayoutId id="2147484199" r:id="rId32"/>
    <p:sldLayoutId id="2147484198" r:id="rId33"/>
    <p:sldLayoutId id="2147484197" r:id="rId34"/>
    <p:sldLayoutId id="2147484196" r:id="rId35"/>
    <p:sldLayoutId id="2147484195" r:id="rId36"/>
    <p:sldLayoutId id="2147484192" r:id="rId37"/>
    <p:sldLayoutId id="2147484193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0270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4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en-US" sz="2800" b="1" i="0" baseline="0" err="1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48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DE6CA1-E86F-4272-A05E-3E4F7243F8C1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080000" y="360000"/>
            <a:ext cx="1466850" cy="419100"/>
          </a:xfrm>
          <a:prstGeom prst="rect">
            <a:avLst/>
          </a:prstGeom>
        </p:spPr>
      </p:pic>
      <p:pic>
        <p:nvPicPr>
          <p:cNvPr id="10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87317E3-4029-40B0-BF1A-50F89419EEF0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139266" y="6222947"/>
            <a:ext cx="1407584" cy="348065"/>
          </a:xfrm>
          <a:prstGeom prst="rect">
            <a:avLst/>
          </a:prstGeom>
        </p:spPr>
      </p:pic>
    </p:spTree>
    <p:custDataLst>
      <p:tags r:id="rId25"/>
    </p:custDataLst>
    <p:extLst>
      <p:ext uri="{BB962C8B-B14F-4D97-AF65-F5344CB8AC3E}">
        <p14:creationId xmlns:p14="http://schemas.microsoft.com/office/powerpoint/2010/main" val="1993074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23" r:id="rId13"/>
    <p:sldLayoutId id="2147484224" r:id="rId14"/>
    <p:sldLayoutId id="2147484225" r:id="rId15"/>
    <p:sldLayoutId id="2147484226" r:id="rId16"/>
    <p:sldLayoutId id="2147484227" r:id="rId17"/>
    <p:sldLayoutId id="2147484228" r:id="rId18"/>
    <p:sldLayoutId id="2147484229" r:id="rId19"/>
    <p:sldLayoutId id="2147484230" r:id="rId20"/>
    <p:sldLayoutId id="2147484231" r:id="rId21"/>
    <p:sldLayoutId id="2147484250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4.vml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11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package" Target="../embeddings/Microsoft_Excel_Worksheet1.xlsx"/><Relationship Id="rId7" Type="http://schemas.openxmlformats.org/officeDocument/2006/relationships/oleObject" Target="../embeddings/oleObject104.bin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0.emf"/><Relationship Id="rId5" Type="http://schemas.openxmlformats.org/officeDocument/2006/relationships/package" Target="../embeddings/Microsoft_Excel_Worksheet2.xlsx"/><Relationship Id="rId4" Type="http://schemas.openxmlformats.org/officeDocument/2006/relationships/image" Target="../media/image29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33.emf"/><Relationship Id="rId4" Type="http://schemas.openxmlformats.org/officeDocument/2006/relationships/package" Target="../embeddings/Microsoft_Excel_Worksheet3.xlsx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36.emf"/><Relationship Id="rId4" Type="http://schemas.openxmlformats.org/officeDocument/2006/relationships/package" Target="../embeddings/Microsoft_Excel_Worksheet4.xlsx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38.emf"/><Relationship Id="rId4" Type="http://schemas.openxmlformats.org/officeDocument/2006/relationships/package" Target="../embeddings/Microsoft_Excel_Worksheet5.xlsx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0.emf"/><Relationship Id="rId4" Type="http://schemas.openxmlformats.org/officeDocument/2006/relationships/package" Target="../embeddings/Microsoft_Excel_Worksheet6.xlsx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dekra.service-now.com/nav_to.do?uri=%2Fincident_list.do%3Fsysparm_userpref_module%3D96136469db96130019cea5ca0b96198c%26sysparm_query%3Dassignment_groupDYNAMIC9c64a877db673780d7eac4c115961928%255EEQ%26sysparm_clear_stack%3Dtrue" TargetMode="External"/><Relationship Id="rId3" Type="http://schemas.openxmlformats.org/officeDocument/2006/relationships/hyperlink" Target="https://dekratest.service-now.com/nav_to.do?uri=%2Fdmn_demand_list.do%3Fsysparm_first_row%3D1%26sysparm_query%3DGOTOportfolio.name%253e%253dDelivery%2BCentre%2FDigital%2BPlatforms%26sysparm_query_encoded%3DGOTOportfolio.name%253e%253dDelivery%2BCentre%2FDigital%2BPlatforms%26sysparm_view%3Ddemand_apm" TargetMode="External"/><Relationship Id="rId7" Type="http://schemas.openxmlformats.org/officeDocument/2006/relationships/hyperlink" Target="https://dekra.service-now.com/nav_to.do?uri=%2Fchange_request_list.do%3Fsysparm_first_row%3D1%26sysparm_query%3DGOTOassigned_to.name%253e%253delisa%26sysparm_query_encoded%3DGOTOassigned_to.name%253e%253delisa%26sysparm_view%3D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3.xml"/><Relationship Id="rId6" Type="http://schemas.openxmlformats.org/officeDocument/2006/relationships/hyperlink" Target="https://dekra.service-now.com/nav_to.do?uri=%2Fast_contract_list.do%3Fsysparm_first_row%3D1%26sysparm_query%3Dcontract_model%253dd781e836c3102000b959fd251eba8f89%255eGOTOvendor.name%253e%253dmicrosoft%26sysparm_query_encoded%3Dcontract_model%253dd781e836c3102000b959fd251eba8f89%255eGOTOvendor.name%253e%253dmicrosoft%26sysparm_view%3D" TargetMode="External"/><Relationship Id="rId5" Type="http://schemas.openxmlformats.org/officeDocument/2006/relationships/hyperlink" Target="https://dekracloud.sharepoint.com/sites/DeliveryCenter/Freigegebene%20Dokumente/Forms/AllItems.aspx?RootFolder=%2Fsites%2FDeliveryCenter%2FFreigegebene%20Dokumente%2FGeneral&amp;FolderCTID=0x012000722FD91F01280F41BF5BB58384F7EE82" TargetMode="External"/><Relationship Id="rId4" Type="http://schemas.openxmlformats.org/officeDocument/2006/relationships/hyperlink" Target="https://dekracloud.sharepoint.com/sites/DeliveryCenter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slideLayout" Target="../slideLayouts/slideLayout2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3.emf"/><Relationship Id="rId4" Type="http://schemas.openxmlformats.org/officeDocument/2006/relationships/package" Target="../embeddings/Microsoft_Excel_Worksheet7.xlsx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ekra.service-now.com/nav_to.do?uri=%2Fincident_list.do%3Fsysparm_userpref_module%3D96136469db96130019cea5ca0b96198c%26sysparm_query%3Dassignment_groupDYNAMIC9c64a877db673780d7eac4c115961928%255EEQ%26sysparm_clear_stack%3Dtrue" TargetMode="External"/><Relationship Id="rId3" Type="http://schemas.openxmlformats.org/officeDocument/2006/relationships/hyperlink" Target="https://dekratest.service-now.com/nav_to.do?uri=%2Fdmn_demand_list.do%3Fsysparm_first_row%3D1%26sysparm_query%3DGOTOportfolio.name%253e%253dDelivery%2BCentre%2FDigital%2BPlatforms%26sysparm_query_encoded%3DGOTOportfolio.name%253e%253dDelivery%2BCentre%2FDigital%2BPlatforms%26sysparm_view%3Ddemand_apm" TargetMode="External"/><Relationship Id="rId7" Type="http://schemas.openxmlformats.org/officeDocument/2006/relationships/hyperlink" Target="https://dekra.service-now.com/nav_to.do?uri=%2Fchange_request_list.do%3Fsysparm_first_row%3D1%26sysparm_query%3DGOTOassigned_to.name%253e%253delisa%26sysparm_query_encoded%3DGOTOassigned_to.name%253e%253delisa%26sysparm_view%3D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3.xml"/><Relationship Id="rId6" Type="http://schemas.openxmlformats.org/officeDocument/2006/relationships/hyperlink" Target="https://dekra.service-now.com/nav_to.do?uri=%2Fast_contract_list.do%3Fsysparm_first_row%3D1%26sysparm_query%3Dcontract_model%253dd781e836c3102000b959fd251eba8f89%255eGOTOvendor.name%253e%253dmicrosoft%26sysparm_query_encoded%3Dcontract_model%253dd781e836c3102000b959fd251eba8f89%255eGOTOvendor.name%253e%253dmicrosoft%26sysparm_view%3D" TargetMode="External"/><Relationship Id="rId5" Type="http://schemas.openxmlformats.org/officeDocument/2006/relationships/hyperlink" Target="https://dekracloud.sharepoint.com/sites/DeliveryCenter/Freigegebene%20Dokumente/Forms/AllItems.aspx?RootFolder=%2Fsites%2FDeliveryCenter%2FFreigegebene%20Dokumente%2FGeneral&amp;FolderCTID=0x012000722FD91F01280F41BF5BB58384F7EE82" TargetMode="External"/><Relationship Id="rId4" Type="http://schemas.openxmlformats.org/officeDocument/2006/relationships/hyperlink" Target="https://dekracloud.sharepoint.com/sites/DeliveryCenter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1844750-9AF2-48CC-926B-C6EBE3621E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0040" y="2644680"/>
            <a:ext cx="4965192" cy="2741135"/>
          </a:xfrm>
        </p:spPr>
        <p:txBody>
          <a:bodyPr/>
          <a:lstStyle/>
          <a:p>
            <a:pPr algn="ctr"/>
            <a:r>
              <a:rPr lang="en-US" sz="3600" dirty="0"/>
              <a:t>Delivery Centre Governance for Power Platform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409350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BCFDF3-0EE5-4806-BD94-3FFAB52720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A6DC6-855C-497A-A927-C0D814C822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0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FF7B90-E835-459E-9AB9-BE4C413ED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303" y="1398588"/>
            <a:ext cx="8545024" cy="1692084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9FD539C3-99E8-4004-A0C2-829F776A6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752" y="355193"/>
            <a:ext cx="9415021" cy="403760"/>
          </a:xfrm>
        </p:spPr>
        <p:txBody>
          <a:bodyPr/>
          <a:lstStyle/>
          <a:p>
            <a:r>
              <a:rPr lang="es-ES" sz="1800" dirty="0" err="1"/>
              <a:t>Power</a:t>
            </a:r>
            <a:r>
              <a:rPr lang="es-ES" sz="1800" dirty="0"/>
              <a:t> </a:t>
            </a:r>
            <a:r>
              <a:rPr lang="es-ES" sz="1800" dirty="0" err="1"/>
              <a:t>Platform</a:t>
            </a:r>
            <a:r>
              <a:rPr lang="es-ES" sz="1800" dirty="0"/>
              <a:t> – </a:t>
            </a:r>
            <a:r>
              <a:rPr lang="es-ES" sz="1800" dirty="0" err="1"/>
              <a:t>Other</a:t>
            </a:r>
            <a:r>
              <a:rPr lang="es-ES" sz="1800" dirty="0"/>
              <a:t> Microsoft </a:t>
            </a:r>
            <a:r>
              <a:rPr lang="es-ES" sz="1800" dirty="0" err="1"/>
              <a:t>Feasibility</a:t>
            </a:r>
            <a:r>
              <a:rPr lang="es-ES" sz="1800" dirty="0"/>
              <a:t> </a:t>
            </a:r>
            <a:r>
              <a:rPr lang="es-ES" sz="1800" dirty="0" err="1"/>
              <a:t>Questionnarie</a:t>
            </a:r>
            <a:r>
              <a:rPr lang="es-ES" sz="1800" dirty="0"/>
              <a:t> – </a:t>
            </a:r>
            <a:r>
              <a:rPr lang="es-ES" sz="1800" dirty="0" err="1"/>
              <a:t>Intermediate</a:t>
            </a:r>
            <a:r>
              <a:rPr lang="es-ES" sz="1800" dirty="0"/>
              <a:t> Page</a:t>
            </a:r>
          </a:p>
        </p:txBody>
      </p:sp>
    </p:spTree>
    <p:extLst>
      <p:ext uri="{BB962C8B-B14F-4D97-AF65-F5344CB8AC3E}">
        <p14:creationId xmlns:p14="http://schemas.microsoft.com/office/powerpoint/2010/main" val="149767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0" y="154024"/>
            <a:ext cx="9415021" cy="537633"/>
          </a:xfrm>
        </p:spPr>
        <p:txBody>
          <a:bodyPr/>
          <a:lstStyle/>
          <a:p>
            <a:r>
              <a:rPr lang="es-ES" sz="2000" dirty="0" err="1"/>
              <a:t>Power</a:t>
            </a:r>
            <a:r>
              <a:rPr lang="es-ES" sz="2000" dirty="0"/>
              <a:t> </a:t>
            </a:r>
            <a:r>
              <a:rPr lang="es-ES" sz="2000" dirty="0" err="1"/>
              <a:t>Platform</a:t>
            </a:r>
            <a:r>
              <a:rPr lang="es-ES" sz="2000" dirty="0"/>
              <a:t> – </a:t>
            </a:r>
            <a:r>
              <a:rPr lang="es-ES" sz="2000" dirty="0" err="1"/>
              <a:t>Other</a:t>
            </a:r>
            <a:r>
              <a:rPr lang="es-ES" sz="2000" dirty="0"/>
              <a:t> Microsoft </a:t>
            </a:r>
            <a:r>
              <a:rPr lang="es-ES" sz="2000" dirty="0" err="1"/>
              <a:t>Feasibility</a:t>
            </a:r>
            <a:r>
              <a:rPr lang="es-ES" sz="2000" dirty="0"/>
              <a:t> </a:t>
            </a:r>
            <a:r>
              <a:rPr lang="es-ES" sz="2000" dirty="0" err="1"/>
              <a:t>Questionnarie</a:t>
            </a:r>
            <a:r>
              <a:rPr lang="es-ES" sz="2000" dirty="0"/>
              <a:t> – Final Page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1</a:t>
            </a:fld>
            <a:endParaRPr lang="en-US" noProof="0"/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DD0B9CA8-CF3E-4716-9132-3E0B2BEB80F7}"/>
              </a:ext>
            </a:extLst>
          </p:cNvPr>
          <p:cNvGraphicFramePr>
            <a:graphicFrameLocks noGrp="1"/>
          </p:cNvGraphicFramePr>
          <p:nvPr/>
        </p:nvGraphicFramePr>
        <p:xfrm>
          <a:off x="593889" y="1574766"/>
          <a:ext cx="10284644" cy="4622584"/>
        </p:xfrm>
        <a:graphic>
          <a:graphicData uri="http://schemas.openxmlformats.org/drawingml/2006/table">
            <a:tbl>
              <a:tblPr/>
              <a:tblGrid>
                <a:gridCol w="5311617">
                  <a:extLst>
                    <a:ext uri="{9D8B030D-6E8A-4147-A177-3AD203B41FA5}">
                      <a16:colId xmlns:a16="http://schemas.microsoft.com/office/drawing/2014/main" val="2530541837"/>
                    </a:ext>
                  </a:extLst>
                </a:gridCol>
                <a:gridCol w="4973027">
                  <a:extLst>
                    <a:ext uri="{9D8B030D-6E8A-4147-A177-3AD203B41FA5}">
                      <a16:colId xmlns:a16="http://schemas.microsoft.com/office/drawing/2014/main" val="3798051152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pplication Development Request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E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628347"/>
                  </a:ext>
                </a:extLst>
              </a:tr>
              <a:tr h="509683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at is the DEKRA Service Division?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Service Division</a:t>
                      </a:r>
                    </a:p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 Country/Countries (local/global application)</a:t>
                      </a:r>
                    </a:p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 GI IT Unit (Biz SW, CF IT, GIO, ...)</a:t>
                      </a:r>
                    </a:p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 Is this an i3X project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777250"/>
                  </a:ext>
                </a:extLst>
              </a:tr>
              <a:tr h="257552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es the solution require a specific geographic availability?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Availability of development resources or Availability in terms of uptime in production or availability of operational support (24/7)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2335373"/>
                  </a:ext>
                </a:extLst>
              </a:tr>
              <a:tr h="363792">
                <a:tc>
                  <a:txBody>
                    <a:bodyPr/>
                    <a:lstStyle/>
                    <a:p>
                      <a:pPr marL="0" marR="0" lvl="0" indent="0" algn="l" defTabSz="1219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at is the Application? (Link to LUY/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eraplan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pplication)</a:t>
                      </a:r>
                    </a:p>
                    <a:p>
                      <a:pPr algn="l" fontAlgn="t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325332"/>
                  </a:ext>
                </a:extLst>
              </a:tr>
              <a:tr h="203081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solution requires integration with other internal or external systems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Provide details of the integration required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04570"/>
                  </a:ext>
                </a:extLst>
              </a:tr>
              <a:tr h="249531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ease provide an estimation on the total number of internal or external users that will access the solution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83700"/>
                  </a:ext>
                </a:extLst>
              </a:tr>
              <a:tr h="304117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ease provide an estimation of the amount of data involved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Amount of data, number of transactions, or a large number of key-value pairs, or big amounts of binary data, or file storage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8365684"/>
                  </a:ext>
                </a:extLst>
              </a:tr>
              <a:tr h="281883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es a specific technology platform require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Microsoft Azure DevOps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5712802"/>
                  </a:ext>
                </a:extLst>
              </a:tr>
              <a:tr h="162596">
                <a:tc>
                  <a:txBody>
                    <a:bodyPr/>
                    <a:lstStyle/>
                    <a:p>
                      <a:pPr algn="l" fontAlgn="t"/>
                      <a:r>
                        <a:rPr lang="es-E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y specialized resources required? 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Field Specialist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6715968"/>
                  </a:ext>
                </a:extLst>
              </a:tr>
              <a:tr h="280722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es the solution require out of the ordinary non-functional requirements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</a:t>
                      </a:r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igh availability (HA), Scalability or Performance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7354192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y legal compliance required as part of the solution? Any target date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4186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 the solution business critical?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2982452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As are already agreed and documented?: 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68069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ch level of support?: 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Level I, II or III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2474170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ch channels of communication are required?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Telephone, Email, SMS,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atsup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3188234"/>
                  </a:ext>
                </a:extLst>
              </a:tr>
              <a:tr h="257552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ch licenses are required? 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DPDC would need licenses for accessing the system, or for debugging?  I would ask: "Which" licenses are required?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477633"/>
                  </a:ext>
                </a:extLst>
              </a:tr>
              <a:tr h="257552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unctional documentation of the solution is available?: 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.e. Is there any solution's functional and technical documentation? If so, please attached to this request.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5295709"/>
                  </a:ext>
                </a:extLst>
              </a:tr>
              <a:tr h="22767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ease provide a brief summary of the requirement:</a:t>
                      </a:r>
                    </a:p>
                  </a:txBody>
                  <a:tcPr marL="6553" marR="6553" marT="655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1142309"/>
                  </a:ext>
                </a:extLst>
              </a:tr>
            </a:tbl>
          </a:graphicData>
        </a:graphic>
      </p:graphicFrame>
      <p:sp>
        <p:nvSpPr>
          <p:cNvPr id="9" name="Rectángulo 8">
            <a:extLst>
              <a:ext uri="{FF2B5EF4-FFF2-40B4-BE49-F238E27FC236}">
                <a16:creationId xmlns:a16="http://schemas.microsoft.com/office/drawing/2014/main" id="{4A720AE0-B027-4550-A650-0CFC844954A2}"/>
              </a:ext>
            </a:extLst>
          </p:cNvPr>
          <p:cNvSpPr/>
          <p:nvPr/>
        </p:nvSpPr>
        <p:spPr>
          <a:xfrm>
            <a:off x="514800" y="1297767"/>
            <a:ext cx="43138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ES" sz="1200" b="1" u="sng" dirty="0" err="1">
                <a:solidFill>
                  <a:srgbClr val="404040"/>
                </a:solidFill>
              </a:rPr>
              <a:t>If</a:t>
            </a:r>
            <a:r>
              <a:rPr lang="es-ES" altLang="es-ES" sz="1200" b="1" u="sng" dirty="0">
                <a:solidFill>
                  <a:srgbClr val="404040"/>
                </a:solidFill>
              </a:rPr>
              <a:t> </a:t>
            </a:r>
            <a:r>
              <a:rPr lang="es-ES" altLang="es-ES" sz="1200" b="1" u="sng" dirty="0" err="1">
                <a:solidFill>
                  <a:srgbClr val="404040"/>
                </a:solidFill>
              </a:rPr>
              <a:t>Demand</a:t>
            </a:r>
            <a:r>
              <a:rPr lang="es-ES" altLang="es-ES" sz="1200" b="1" u="sng" dirty="0">
                <a:solidFill>
                  <a:srgbClr val="404040"/>
                </a:solidFill>
              </a:rPr>
              <a:t> </a:t>
            </a:r>
            <a:r>
              <a:rPr lang="es-ES" altLang="es-ES" sz="1200" b="1" u="sng" dirty="0" err="1">
                <a:solidFill>
                  <a:srgbClr val="404040"/>
                </a:solidFill>
              </a:rPr>
              <a:t>Request</a:t>
            </a:r>
            <a:r>
              <a:rPr lang="es-ES" altLang="es-ES" sz="1200" b="1" u="sng" dirty="0">
                <a:solidFill>
                  <a:srgbClr val="404040"/>
                </a:solidFill>
              </a:rPr>
              <a:t> </a:t>
            </a:r>
            <a:r>
              <a:rPr lang="es-ES" altLang="es-ES" sz="1200" b="1" u="sng" dirty="0" err="1">
                <a:solidFill>
                  <a:srgbClr val="404040"/>
                </a:solidFill>
              </a:rPr>
              <a:t>not</a:t>
            </a:r>
            <a:r>
              <a:rPr lang="es-ES" altLang="es-ES" sz="1200" b="1" u="sng" dirty="0">
                <a:solidFill>
                  <a:srgbClr val="404040"/>
                </a:solidFill>
              </a:rPr>
              <a:t> </a:t>
            </a:r>
            <a:r>
              <a:rPr lang="es-ES" altLang="es-ES" sz="1200" b="1" u="sng" dirty="0" err="1">
                <a:solidFill>
                  <a:srgbClr val="404040"/>
                </a:solidFill>
              </a:rPr>
              <a:t>available</a:t>
            </a:r>
            <a:r>
              <a:rPr lang="es-ES" altLang="es-ES" sz="1200" b="1" u="sng" dirty="0">
                <a:solidFill>
                  <a:srgbClr val="404040"/>
                </a:solidFill>
              </a:rPr>
              <a:t> - </a:t>
            </a:r>
            <a:r>
              <a:rPr lang="es-ES" altLang="es-ES" sz="1200" b="1" u="sng" dirty="0" err="1">
                <a:solidFill>
                  <a:srgbClr val="404040"/>
                </a:solidFill>
              </a:rPr>
              <a:t>Questions</a:t>
            </a:r>
            <a:r>
              <a:rPr lang="es-ES" altLang="es-ES" sz="1200" b="1" u="sng" dirty="0">
                <a:solidFill>
                  <a:srgbClr val="404040"/>
                </a:solidFill>
              </a:rPr>
              <a:t> (Free Text):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3867550D-89D7-45FB-A875-60CDED580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889" y="801361"/>
            <a:ext cx="10209230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s-ES" altLang="es-ES" sz="1200" b="1" dirty="0" err="1">
                <a:solidFill>
                  <a:srgbClr val="404040"/>
                </a:solidFill>
                <a:latin typeface="+mj-lt"/>
              </a:rPr>
              <a:t>Did</a:t>
            </a:r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b="1" dirty="0" err="1">
                <a:solidFill>
                  <a:srgbClr val="404040"/>
                </a:solidFill>
                <a:latin typeface="+mj-lt"/>
              </a:rPr>
              <a:t>you</a:t>
            </a:r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b="1" dirty="0" err="1">
                <a:solidFill>
                  <a:srgbClr val="404040"/>
                </a:solidFill>
                <a:latin typeface="+mj-lt"/>
              </a:rPr>
              <a:t>fill</a:t>
            </a:r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b="1" dirty="0" err="1">
                <a:solidFill>
                  <a:srgbClr val="404040"/>
                </a:solidFill>
                <a:latin typeface="+mj-lt"/>
              </a:rPr>
              <a:t>out</a:t>
            </a:r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b="1" dirty="0" err="1">
                <a:solidFill>
                  <a:srgbClr val="404040"/>
                </a:solidFill>
                <a:latin typeface="+mj-lt"/>
              </a:rPr>
              <a:t>the</a:t>
            </a:r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n-US" altLang="es-ES" sz="1200" b="1" dirty="0">
                <a:solidFill>
                  <a:srgbClr val="404040"/>
                </a:solidFill>
                <a:latin typeface="+mj-lt"/>
              </a:rPr>
              <a:t>Demand Request - EMEA Delivery Center v1.6 Excel? If so, please upload the document, otherwise answer the questions below. Note: The information should be populated automatically in each row.    </a:t>
            </a:r>
          </a:p>
          <a:p>
            <a:pPr lvl="0"/>
            <a:endParaRPr kumimoji="0" lang="en-US" altLang="es-ES" sz="1200" b="1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E5B73DBB-1831-4675-BE75-A26C3CE0DC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75726955"/>
              </p:ext>
            </p:extLst>
          </p:nvPr>
        </p:nvGraphicFramePr>
        <p:xfrm>
          <a:off x="6288024" y="1078359"/>
          <a:ext cx="656591" cy="553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7" name="Worksheet" showAsIcon="1" r:id="rId3" imgW="914400" imgH="771525" progId="Excel.Sheet.12">
                  <p:embed/>
                </p:oleObj>
              </mc:Choice>
              <mc:Fallback>
                <p:oleObj name="Worksheet" showAsIcon="1" r:id="rId3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88024" y="1078359"/>
                        <a:ext cx="656591" cy="553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741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EC160-F097-479D-B69C-9EE48A85B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0" y="366101"/>
            <a:ext cx="9487598" cy="537633"/>
          </a:xfrm>
        </p:spPr>
        <p:txBody>
          <a:bodyPr/>
          <a:lstStyle/>
          <a:p>
            <a:r>
              <a:rPr lang="es-ES" sz="2600" dirty="0" err="1"/>
              <a:t>Power</a:t>
            </a:r>
            <a:r>
              <a:rPr lang="es-ES" sz="2600" dirty="0"/>
              <a:t> </a:t>
            </a:r>
            <a:r>
              <a:rPr lang="es-ES" sz="2600" dirty="0" err="1"/>
              <a:t>Platform</a:t>
            </a:r>
            <a:r>
              <a:rPr lang="es-ES" sz="2600" dirty="0"/>
              <a:t>–</a:t>
            </a:r>
            <a:r>
              <a:rPr lang="es-ES" sz="2600" dirty="0" err="1"/>
              <a:t>Effort</a:t>
            </a:r>
            <a:r>
              <a:rPr lang="es-ES" sz="2600" dirty="0"/>
              <a:t> </a:t>
            </a:r>
            <a:r>
              <a:rPr lang="es-ES" sz="2600" dirty="0" err="1"/>
              <a:t>Estimation</a:t>
            </a:r>
            <a:r>
              <a:rPr lang="es-ES" sz="2600" dirty="0"/>
              <a:t> Tool – </a:t>
            </a:r>
            <a:r>
              <a:rPr lang="es-ES" sz="2600" dirty="0" err="1"/>
              <a:t>Intermediate</a:t>
            </a:r>
            <a:r>
              <a:rPr lang="es-ES" sz="2600" dirty="0"/>
              <a:t> Page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DB5758-3A09-4350-B9EB-C2B6ACA3F8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1DF99F-F19B-4AEA-9B13-3957E4DFE4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2</a:t>
            </a:fld>
            <a:endParaRPr lang="en-US" noProof="0"/>
          </a:p>
        </p:txBody>
      </p:sp>
      <p:pic>
        <p:nvPicPr>
          <p:cNvPr id="117762" name="Picture 2">
            <a:extLst>
              <a:ext uri="{FF2B5EF4-FFF2-40B4-BE49-F238E27FC236}">
                <a16:creationId xmlns:a16="http://schemas.microsoft.com/office/drawing/2014/main" id="{C4D0BFEC-B566-493E-BEE5-3D28C196E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0" y="1087251"/>
            <a:ext cx="7595928" cy="1424238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E3FD1C-4B2E-43B7-BE03-1833D432B9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800" y="2831823"/>
            <a:ext cx="7797096" cy="15366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8109CA-456B-4BBF-AEF1-097B1166A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509" y="4657852"/>
            <a:ext cx="7696512" cy="151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05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72" y="439099"/>
            <a:ext cx="8365392" cy="537633"/>
          </a:xfrm>
        </p:spPr>
        <p:txBody>
          <a:bodyPr/>
          <a:lstStyle/>
          <a:p>
            <a:r>
              <a:rPr lang="es-ES" sz="2400" dirty="0" err="1"/>
              <a:t>Power</a:t>
            </a:r>
            <a:r>
              <a:rPr lang="es-ES" sz="2400" dirty="0"/>
              <a:t> </a:t>
            </a:r>
            <a:r>
              <a:rPr lang="es-ES" sz="2400" dirty="0" err="1"/>
              <a:t>Platform</a:t>
            </a:r>
            <a:r>
              <a:rPr lang="es-ES" sz="2400" dirty="0"/>
              <a:t>–</a:t>
            </a:r>
            <a:r>
              <a:rPr lang="es-ES" sz="2400" dirty="0" err="1"/>
              <a:t>Effort</a:t>
            </a:r>
            <a:r>
              <a:rPr lang="es-ES" sz="2400" dirty="0"/>
              <a:t> </a:t>
            </a:r>
            <a:r>
              <a:rPr lang="es-ES" sz="2400" dirty="0" err="1"/>
              <a:t>Estimation</a:t>
            </a:r>
            <a:r>
              <a:rPr lang="es-ES" sz="2400" dirty="0"/>
              <a:t> Tool – Final Pages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B22056C4-8D78-49D8-9323-2895F3AC0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2" y="1841487"/>
            <a:ext cx="7537674" cy="6924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ERT ESTIMATION TOOL – IMPLEMENT “ESTIMATES” SHEET – AGILE OR HYBRID PROJECTS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DB635A4-66CE-44C8-B143-F1920BAE3C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3" y="2959898"/>
            <a:ext cx="8552657" cy="6924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USE CASE</a:t>
            </a:r>
            <a:r>
              <a:rPr lang="es-ES" altLang="es-ES" b="1" u="sng" dirty="0">
                <a:solidFill>
                  <a:srgbClr val="404040"/>
                </a:solidFill>
                <a:latin typeface="+mj-lt"/>
              </a:rPr>
              <a:t> ESTIMATION TOOL - </a:t>
            </a:r>
            <a:r>
              <a:rPr lang="es-ES" altLang="es-ES" b="1" u="sng" dirty="0" err="1">
                <a:solidFill>
                  <a:srgbClr val="404040"/>
                </a:solidFill>
                <a:latin typeface="+mj-lt"/>
              </a:rPr>
              <a:t>Implement</a:t>
            </a:r>
            <a:r>
              <a:rPr lang="es-ES" altLang="es-ES" b="1" u="sng" dirty="0">
                <a:solidFill>
                  <a:srgbClr val="404040"/>
                </a:solidFill>
                <a:latin typeface="+mj-lt"/>
              </a:rPr>
              <a:t> “UCP DETAILS” &amp; “UCP EFFORT ESTIMATION” SHEETS – HYBRID PROJECTS</a:t>
            </a:r>
            <a:endParaRPr kumimoji="0" lang="es-ES" altLang="es-ES" b="1" i="0" u="sng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sz="9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2AAAF04-9F27-4C9E-8288-0E63B3B8E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3" y="3995540"/>
            <a:ext cx="8433785" cy="96949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GILE EPIC POINT </a:t>
            </a:r>
            <a:r>
              <a:rPr lang="es-ES" altLang="es-ES" b="1" u="sng" dirty="0">
                <a:solidFill>
                  <a:srgbClr val="404040"/>
                </a:solidFill>
                <a:latin typeface="+mj-lt"/>
              </a:rPr>
              <a:t>ESTIMATION TOOL – IMPLEMENT “ESTIMATE IMPLEMENTATION PROJECT” &amp; “ESTIMATION SUMMARY”- AGILE PROJECTS</a:t>
            </a:r>
            <a:endParaRPr kumimoji="0" lang="es-ES" altLang="es-ES" b="1" i="0" u="sng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sz="9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0ACFBFB9-1D4C-4862-8707-9B09DEBC6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83" y="1092407"/>
            <a:ext cx="7427945" cy="18466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s-ES" altLang="es-ES" sz="1200" b="1" dirty="0">
                <a:solidFill>
                  <a:srgbClr val="404040"/>
                </a:solidFill>
                <a:latin typeface="+mj-lt"/>
              </a:rPr>
              <a:t>DELIVERY / DEMAND MANAGER SHOULD BE ABLE TO CHOOSE ONE OR ALL ESTIMATION TOOLS</a:t>
            </a:r>
            <a:endParaRPr kumimoji="0" lang="es-ES" altLang="es-ES" sz="1200" b="1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graphicFrame>
        <p:nvGraphicFramePr>
          <p:cNvPr id="10" name="Objeto 9">
            <a:extLst>
              <a:ext uri="{FF2B5EF4-FFF2-40B4-BE49-F238E27FC236}">
                <a16:creationId xmlns:a16="http://schemas.microsoft.com/office/drawing/2014/main" id="{3D7E9D51-587B-4885-931D-66E4D33A3D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1148988"/>
              </p:ext>
            </p:extLst>
          </p:nvPr>
        </p:nvGraphicFramePr>
        <p:xfrm>
          <a:off x="9140825" y="16970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3" name="Worksheet" showAsIcon="1" r:id="rId3" imgW="914400" imgH="771525" progId="Excel.Sheet.12">
                  <p:embed/>
                </p:oleObj>
              </mc:Choice>
              <mc:Fallback>
                <p:oleObj name="Worksheet" showAsIcon="1" r:id="rId3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140825" y="16970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to 11">
            <a:extLst>
              <a:ext uri="{FF2B5EF4-FFF2-40B4-BE49-F238E27FC236}">
                <a16:creationId xmlns:a16="http://schemas.microsoft.com/office/drawing/2014/main" id="{6EE866DF-5961-4A9C-8B47-BCE8112EE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4900359"/>
              </p:ext>
            </p:extLst>
          </p:nvPr>
        </p:nvGraphicFramePr>
        <p:xfrm>
          <a:off x="9140825" y="39957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4" name="Worksheet" showAsIcon="1" r:id="rId5" imgW="914400" imgH="771525" progId="Excel.Sheet.12">
                  <p:embed/>
                </p:oleObj>
              </mc:Choice>
              <mc:Fallback>
                <p:oleObj name="Worksheet" showAsIcon="1" r:id="rId5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140825" y="39957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5B3F18BB-6054-40E2-9C35-FB74336E540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853619"/>
              </p:ext>
            </p:extLst>
          </p:nvPr>
        </p:nvGraphicFramePr>
        <p:xfrm>
          <a:off x="9140825" y="292038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5" name="Worksheet" showAsIcon="1" r:id="rId7" imgW="914400" imgH="771525" progId="Excel.Sheet.8">
                  <p:embed/>
                </p:oleObj>
              </mc:Choice>
              <mc:Fallback>
                <p:oleObj name="Worksheet" showAsIcon="1" r:id="rId7" imgW="914400" imgH="771525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140825" y="292038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396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D1A165-51EB-41C9-B88D-C550AFBDDA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AD8B81-01C4-4BFD-84C1-871A3C7545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4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B4B731-250D-4E93-AA06-71134527C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064" y="1234059"/>
            <a:ext cx="7625206" cy="1810893"/>
          </a:xfrm>
          <a:prstGeom prst="rect">
            <a:avLst/>
          </a:prstGeom>
          <a:ln w="38100">
            <a:solidFill>
              <a:srgbClr val="00B050"/>
            </a:solidFill>
          </a:ln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546E7AD3-FC38-40AF-AEF7-897E39C94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912" y="310860"/>
            <a:ext cx="9904320" cy="537633"/>
          </a:xfrm>
        </p:spPr>
        <p:txBody>
          <a:bodyPr/>
          <a:lstStyle/>
          <a:p>
            <a:r>
              <a:rPr lang="es-ES" sz="2400" dirty="0" err="1"/>
              <a:t>Power</a:t>
            </a:r>
            <a:r>
              <a:rPr lang="es-ES" sz="2400" dirty="0"/>
              <a:t> </a:t>
            </a:r>
            <a:r>
              <a:rPr lang="es-ES" sz="2400" dirty="0" err="1"/>
              <a:t>Platform</a:t>
            </a:r>
            <a:r>
              <a:rPr lang="es-ES" sz="2400" dirty="0"/>
              <a:t>– </a:t>
            </a:r>
            <a:r>
              <a:rPr lang="es-ES" sz="2400" dirty="0" err="1"/>
              <a:t>Vendor</a:t>
            </a:r>
            <a:r>
              <a:rPr lang="es-ES" sz="2400" dirty="0"/>
              <a:t> &amp; </a:t>
            </a:r>
            <a:r>
              <a:rPr lang="es-ES" sz="2400" dirty="0" err="1"/>
              <a:t>Profiles</a:t>
            </a:r>
            <a:r>
              <a:rPr lang="es-ES" sz="2400" dirty="0"/>
              <a:t> </a:t>
            </a:r>
            <a:r>
              <a:rPr lang="es-ES" sz="2400" dirty="0" err="1"/>
              <a:t>Information</a:t>
            </a:r>
            <a:r>
              <a:rPr lang="es-ES" sz="2400" dirty="0"/>
              <a:t> – </a:t>
            </a:r>
            <a:r>
              <a:rPr lang="es-ES" sz="2400" dirty="0" err="1"/>
              <a:t>Intermediate</a:t>
            </a:r>
            <a:r>
              <a:rPr lang="es-ES" sz="2400" dirty="0"/>
              <a:t> Page</a:t>
            </a:r>
          </a:p>
        </p:txBody>
      </p:sp>
    </p:spTree>
    <p:extLst>
      <p:ext uri="{BB962C8B-B14F-4D97-AF65-F5344CB8AC3E}">
        <p14:creationId xmlns:p14="http://schemas.microsoft.com/office/powerpoint/2010/main" val="428368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912" y="310860"/>
            <a:ext cx="9904320" cy="537633"/>
          </a:xfrm>
        </p:spPr>
        <p:txBody>
          <a:bodyPr/>
          <a:lstStyle/>
          <a:p>
            <a:r>
              <a:rPr lang="es-ES" sz="2400" dirty="0" err="1"/>
              <a:t>Power</a:t>
            </a:r>
            <a:r>
              <a:rPr lang="es-ES" sz="2400" dirty="0"/>
              <a:t> </a:t>
            </a:r>
            <a:r>
              <a:rPr lang="es-ES" sz="2400" dirty="0" err="1"/>
              <a:t>Platform</a:t>
            </a:r>
            <a:r>
              <a:rPr lang="es-ES" sz="2400" dirty="0"/>
              <a:t>– </a:t>
            </a:r>
            <a:r>
              <a:rPr lang="es-ES" sz="2400" dirty="0" err="1"/>
              <a:t>Vendor</a:t>
            </a:r>
            <a:r>
              <a:rPr lang="es-ES" sz="2400" dirty="0"/>
              <a:t> &amp; </a:t>
            </a:r>
            <a:r>
              <a:rPr lang="es-ES" sz="2400" dirty="0" err="1"/>
              <a:t>Profiles</a:t>
            </a:r>
            <a:r>
              <a:rPr lang="es-ES" sz="2400" dirty="0"/>
              <a:t> </a:t>
            </a:r>
            <a:r>
              <a:rPr lang="es-ES" sz="2400" dirty="0" err="1"/>
              <a:t>Information</a:t>
            </a:r>
            <a:r>
              <a:rPr lang="es-ES" sz="2400" dirty="0"/>
              <a:t> – Final Page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5</a:t>
            </a:fld>
            <a:endParaRPr lang="en-US" noProof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52E1BA7-AD7E-4EC4-9C80-DD0292073D0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19" y="880684"/>
            <a:ext cx="4670113" cy="5547809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A245ACE7-36F2-4343-9278-2A60ACA7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9185" y="1968252"/>
            <a:ext cx="4653423" cy="8309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Create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n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dmin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Page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o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anage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ultiple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Vendors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rofiles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&amp;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Hourly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Rat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60FC3FED-4962-407E-8EFC-4CC26A9018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3543762"/>
              </p:ext>
            </p:extLst>
          </p:nvPr>
        </p:nvGraphicFramePr>
        <p:xfrm>
          <a:off x="8038696" y="294956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21" name="Worksheet" showAsIcon="1" r:id="rId4" imgW="914400" imgH="771525" progId="Excel.Sheet.12">
                  <p:embed/>
                </p:oleObj>
              </mc:Choice>
              <mc:Fallback>
                <p:oleObj name="Worksheet" showAsIcon="1" r:id="rId4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38696" y="294956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942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BB7A67-B64C-49ED-A73C-3A83F4F353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801B94-AA2A-4D63-95F0-DFCFF71F5D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6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9615A2-177E-4EC1-922A-1CDDF03008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482" y="1350201"/>
            <a:ext cx="8533638" cy="1990587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B11AB816-A573-4CC4-B4A8-3CE2B7E73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40" y="338515"/>
            <a:ext cx="9904320" cy="537633"/>
          </a:xfrm>
        </p:spPr>
        <p:txBody>
          <a:bodyPr/>
          <a:lstStyle/>
          <a:p>
            <a:r>
              <a:rPr lang="es-ES" sz="2400" dirty="0" err="1"/>
              <a:t>Power</a:t>
            </a:r>
            <a:r>
              <a:rPr lang="es-ES" sz="2400" dirty="0"/>
              <a:t> </a:t>
            </a:r>
            <a:r>
              <a:rPr lang="es-ES" sz="2400" dirty="0" err="1"/>
              <a:t>Platform</a:t>
            </a:r>
            <a:r>
              <a:rPr lang="es-ES" sz="2400" dirty="0"/>
              <a:t> – </a:t>
            </a:r>
            <a:r>
              <a:rPr lang="es-ES" sz="2400" dirty="0" err="1"/>
              <a:t>Cost</a:t>
            </a:r>
            <a:r>
              <a:rPr lang="es-ES" sz="2400" dirty="0"/>
              <a:t> </a:t>
            </a:r>
            <a:r>
              <a:rPr lang="es-ES" sz="2400" dirty="0" err="1"/>
              <a:t>Estimation</a:t>
            </a:r>
            <a:r>
              <a:rPr lang="es-ES" sz="2400" dirty="0"/>
              <a:t> Per </a:t>
            </a:r>
            <a:r>
              <a:rPr lang="es-ES" sz="2400" dirty="0" err="1"/>
              <a:t>Vendor</a:t>
            </a:r>
            <a:r>
              <a:rPr lang="es-ES" sz="2400" dirty="0"/>
              <a:t> – </a:t>
            </a:r>
            <a:r>
              <a:rPr lang="es-ES" sz="2400" dirty="0" err="1"/>
              <a:t>Intermediate</a:t>
            </a:r>
            <a:r>
              <a:rPr lang="es-ES" sz="2400" dirty="0"/>
              <a:t> Page</a:t>
            </a:r>
          </a:p>
        </p:txBody>
      </p:sp>
    </p:spTree>
    <p:extLst>
      <p:ext uri="{BB962C8B-B14F-4D97-AF65-F5344CB8AC3E}">
        <p14:creationId xmlns:p14="http://schemas.microsoft.com/office/powerpoint/2010/main" val="103321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40" y="338515"/>
            <a:ext cx="9904320" cy="537633"/>
          </a:xfrm>
        </p:spPr>
        <p:txBody>
          <a:bodyPr/>
          <a:lstStyle/>
          <a:p>
            <a:r>
              <a:rPr lang="es-ES" sz="2200" dirty="0" err="1"/>
              <a:t>Power</a:t>
            </a:r>
            <a:r>
              <a:rPr lang="es-ES" sz="2200" dirty="0"/>
              <a:t> </a:t>
            </a:r>
            <a:r>
              <a:rPr lang="es-ES" sz="2200" dirty="0" err="1"/>
              <a:t>Platform</a:t>
            </a:r>
            <a:r>
              <a:rPr lang="es-ES" sz="2200" dirty="0"/>
              <a:t> – </a:t>
            </a:r>
            <a:r>
              <a:rPr lang="es-ES" sz="2200" dirty="0" err="1"/>
              <a:t>Cost</a:t>
            </a:r>
            <a:r>
              <a:rPr lang="es-ES" sz="2200" dirty="0"/>
              <a:t> </a:t>
            </a:r>
            <a:r>
              <a:rPr lang="es-ES" sz="2200" dirty="0" err="1"/>
              <a:t>Estimation</a:t>
            </a:r>
            <a:r>
              <a:rPr lang="es-ES" sz="2200" dirty="0"/>
              <a:t> Per </a:t>
            </a:r>
            <a:r>
              <a:rPr lang="es-ES" sz="2200" dirty="0" err="1"/>
              <a:t>Vendor</a:t>
            </a:r>
            <a:r>
              <a:rPr lang="es-ES" sz="2200" dirty="0"/>
              <a:t> and PERT </a:t>
            </a:r>
            <a:r>
              <a:rPr lang="es-ES" sz="2200" dirty="0" err="1"/>
              <a:t>Estimation</a:t>
            </a:r>
            <a:r>
              <a:rPr lang="es-ES" sz="2200" dirty="0"/>
              <a:t> Tool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7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3A709B-38DD-4C45-99DB-97D21F01E9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624" y="876148"/>
            <a:ext cx="9559784" cy="559486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E626CA25-C8EA-4B81-BD63-C7A6A0A6F5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2885176"/>
              </p:ext>
            </p:extLst>
          </p:nvPr>
        </p:nvGraphicFramePr>
        <p:xfrm>
          <a:off x="10485120" y="304323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3" name="Worksheet" showAsIcon="1" r:id="rId4" imgW="914400" imgH="771525" progId="Excel.Sheet.12">
                  <p:embed/>
                </p:oleObj>
              </mc:Choice>
              <mc:Fallback>
                <p:oleObj name="Worksheet" showAsIcon="1" r:id="rId4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485120" y="304323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614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40" y="338515"/>
            <a:ext cx="9904320" cy="537633"/>
          </a:xfrm>
        </p:spPr>
        <p:txBody>
          <a:bodyPr/>
          <a:lstStyle/>
          <a:p>
            <a:r>
              <a:rPr lang="es-ES" sz="2000" dirty="0" err="1"/>
              <a:t>Power</a:t>
            </a:r>
            <a:r>
              <a:rPr lang="es-ES" sz="2000" dirty="0"/>
              <a:t> </a:t>
            </a:r>
            <a:r>
              <a:rPr lang="es-ES" sz="2000" dirty="0" err="1"/>
              <a:t>Platform</a:t>
            </a:r>
            <a:r>
              <a:rPr lang="es-ES" sz="2000" dirty="0"/>
              <a:t> – </a:t>
            </a:r>
            <a:r>
              <a:rPr lang="es-ES" sz="2000" dirty="0" err="1"/>
              <a:t>Cost</a:t>
            </a:r>
            <a:r>
              <a:rPr lang="es-ES" sz="2000" dirty="0"/>
              <a:t> </a:t>
            </a:r>
            <a:r>
              <a:rPr lang="es-ES" sz="2000" dirty="0" err="1"/>
              <a:t>Estimation</a:t>
            </a:r>
            <a:r>
              <a:rPr lang="es-ES" sz="2000" dirty="0"/>
              <a:t> Per </a:t>
            </a:r>
            <a:r>
              <a:rPr lang="es-ES" sz="2000" dirty="0" err="1"/>
              <a:t>Vendor</a:t>
            </a:r>
            <a:r>
              <a:rPr lang="es-ES" sz="2000" dirty="0"/>
              <a:t> and </a:t>
            </a:r>
            <a:r>
              <a:rPr lang="es-ES" sz="2000" dirty="0" err="1"/>
              <a:t>UseCases</a:t>
            </a:r>
            <a:r>
              <a:rPr lang="es-ES" sz="2000" dirty="0"/>
              <a:t> </a:t>
            </a:r>
            <a:r>
              <a:rPr lang="es-ES" sz="2000" dirty="0" err="1"/>
              <a:t>Estimation</a:t>
            </a:r>
            <a:r>
              <a:rPr lang="es-ES" sz="2000" dirty="0"/>
              <a:t> Tool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8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47C858-E84A-4EE0-AA0D-E2D6B90A55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480" y="876148"/>
            <a:ext cx="9676044" cy="534177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CABD246-E630-462C-8466-E711F33C86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3413041"/>
              </p:ext>
            </p:extLst>
          </p:nvPr>
        </p:nvGraphicFramePr>
        <p:xfrm>
          <a:off x="10503408" y="304323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9" name="Worksheet" showAsIcon="1" r:id="rId4" imgW="914400" imgH="771525" progId="Excel.Sheet.12">
                  <p:embed/>
                </p:oleObj>
              </mc:Choice>
              <mc:Fallback>
                <p:oleObj name="Worksheet" showAsIcon="1" r:id="rId4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03408" y="304323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229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40" y="338515"/>
            <a:ext cx="9904320" cy="537633"/>
          </a:xfrm>
        </p:spPr>
        <p:txBody>
          <a:bodyPr/>
          <a:lstStyle/>
          <a:p>
            <a:r>
              <a:rPr lang="es-ES" sz="2000" dirty="0" err="1"/>
              <a:t>Power</a:t>
            </a:r>
            <a:r>
              <a:rPr lang="es-ES" sz="2000" dirty="0"/>
              <a:t> </a:t>
            </a:r>
            <a:r>
              <a:rPr lang="es-ES" sz="2000" dirty="0" err="1"/>
              <a:t>Platform</a:t>
            </a:r>
            <a:r>
              <a:rPr lang="es-ES" sz="2000" dirty="0"/>
              <a:t> – </a:t>
            </a:r>
            <a:r>
              <a:rPr lang="es-ES" sz="2000" dirty="0" err="1"/>
              <a:t>Cost</a:t>
            </a:r>
            <a:r>
              <a:rPr lang="es-ES" sz="2000" dirty="0"/>
              <a:t> </a:t>
            </a:r>
            <a:r>
              <a:rPr lang="es-ES" sz="2000" dirty="0" err="1"/>
              <a:t>Estimation</a:t>
            </a:r>
            <a:r>
              <a:rPr lang="es-ES" sz="2000" dirty="0"/>
              <a:t> Per </a:t>
            </a:r>
            <a:r>
              <a:rPr lang="es-ES" sz="2000" dirty="0" err="1"/>
              <a:t>Vendor</a:t>
            </a:r>
            <a:r>
              <a:rPr lang="es-ES" sz="2000" dirty="0"/>
              <a:t> and </a:t>
            </a:r>
            <a:r>
              <a:rPr lang="es-ES" sz="2000" dirty="0" err="1"/>
              <a:t>AgileEpics</a:t>
            </a:r>
            <a:r>
              <a:rPr lang="es-ES" sz="2000" dirty="0"/>
              <a:t> </a:t>
            </a:r>
            <a:r>
              <a:rPr lang="es-ES" sz="2000" dirty="0" err="1"/>
              <a:t>Estimation</a:t>
            </a:r>
            <a:r>
              <a:rPr lang="es-ES" sz="2000" dirty="0"/>
              <a:t> Tool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19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CBEC21-535D-40F9-8C77-04803DB104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071" y="1014984"/>
            <a:ext cx="9660975" cy="5020056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</p:pic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FC243433-F9F1-4523-B98D-1766DBE625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0991405"/>
              </p:ext>
            </p:extLst>
          </p:nvPr>
        </p:nvGraphicFramePr>
        <p:xfrm>
          <a:off x="10475976" y="29502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8" name="Worksheet" showAsIcon="1" r:id="rId4" imgW="914400" imgH="771525" progId="Excel.Sheet.12">
                  <p:embed/>
                </p:oleObj>
              </mc:Choice>
              <mc:Fallback>
                <p:oleObj name="Worksheet" showAsIcon="1" r:id="rId4" imgW="914400" imgH="7715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475976" y="29502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3169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745054" y="6506262"/>
            <a:ext cx="2239216" cy="365125"/>
          </a:xfrm>
        </p:spPr>
        <p:txBody>
          <a:bodyPr/>
          <a:lstStyle/>
          <a:p>
            <a:r>
              <a:rPr lang="de-DE" dirty="0"/>
              <a:t>DEKRA Global Delivery Cent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E6295-D2B0-4263-9A86-63CB6A24C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13" y="315911"/>
            <a:ext cx="9822029" cy="537633"/>
          </a:xfrm>
        </p:spPr>
        <p:txBody>
          <a:bodyPr/>
          <a:lstStyle/>
          <a:p>
            <a:r>
              <a:rPr lang="de-DE" dirty="0"/>
              <a:t>| EMEA Delivery Centre Governance </a:t>
            </a:r>
            <a:r>
              <a:rPr lang="de-DE" dirty="0">
                <a:solidFill>
                  <a:srgbClr val="FF0000"/>
                </a:solidFill>
              </a:rPr>
              <a:t>(with instructions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D6E2C29-080B-48A9-AC35-69DD9CE9AA67}"/>
              </a:ext>
            </a:extLst>
          </p:cNvPr>
          <p:cNvSpPr/>
          <p:nvPr/>
        </p:nvSpPr>
        <p:spPr bwMode="gray">
          <a:xfrm>
            <a:off x="127514" y="1479238"/>
            <a:ext cx="1846057" cy="3967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Demand / Project / Team Management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EF7427-52B8-4C44-AEDE-6D11F5641CC9}"/>
              </a:ext>
            </a:extLst>
          </p:cNvPr>
          <p:cNvSpPr/>
          <p:nvPr/>
        </p:nvSpPr>
        <p:spPr bwMode="gray">
          <a:xfrm>
            <a:off x="138191" y="928765"/>
            <a:ext cx="11989008" cy="4531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</a:rPr>
              <a:t>Delivery Centre Governance Modules</a:t>
            </a:r>
            <a:br>
              <a:rPr lang="de-DE" sz="20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e-DE" sz="1100" dirty="0">
                <a:solidFill>
                  <a:schemeClr val="tx1">
                    <a:lumMod val="50000"/>
                  </a:schemeClr>
                </a:solidFill>
              </a:rPr>
              <a:t>[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Governance includes the definition of objectives, the methods for implementation and the resource planning required for this.]</a:t>
            </a: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D381F7D-FAE5-4AE0-AB2A-EAC83616B9BA}"/>
              </a:ext>
            </a:extLst>
          </p:cNvPr>
          <p:cNvSpPr/>
          <p:nvPr/>
        </p:nvSpPr>
        <p:spPr bwMode="gray">
          <a:xfrm>
            <a:off x="127514" y="5583399"/>
            <a:ext cx="11963108" cy="3651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</a:rPr>
              <a:t>Organisatio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F81C6B0-5BC4-4C04-AB84-88A852E4BAAD}"/>
              </a:ext>
            </a:extLst>
          </p:cNvPr>
          <p:cNvSpPr/>
          <p:nvPr/>
        </p:nvSpPr>
        <p:spPr bwMode="gray">
          <a:xfrm>
            <a:off x="6173837" y="2030020"/>
            <a:ext cx="1846057" cy="3431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Flexibilit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Cost Estimation per Vendor</a:t>
            </a: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Performance Management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Link to Power BI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Service Providers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endParaRPr lang="de-DE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de-DE" sz="12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en-US" sz="14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F2828B7-DA45-4003-A682-393A554AA26B}"/>
              </a:ext>
            </a:extLst>
          </p:cNvPr>
          <p:cNvSpPr/>
          <p:nvPr/>
        </p:nvSpPr>
        <p:spPr bwMode="gray">
          <a:xfrm>
            <a:off x="4158396" y="2053806"/>
            <a:ext cx="1846057" cy="34078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Capacity &amp; Resource Plann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Link to Power BI: </a:t>
            </a:r>
            <a:r>
              <a:rPr lang="de-DE" sz="950" dirty="0">
                <a:solidFill>
                  <a:schemeClr val="tx1">
                    <a:lumMod val="50000"/>
                  </a:schemeClr>
                </a:solidFill>
              </a:rPr>
              <a:t>Capacity &amp; Resource Planning Dashboard</a:t>
            </a: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kills Optimizat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Resource Skills Matrix</a:t>
            </a: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77D2594-4E9F-4A81-85E8-A06B2B78A55C}"/>
              </a:ext>
            </a:extLst>
          </p:cNvPr>
          <p:cNvSpPr/>
          <p:nvPr/>
        </p:nvSpPr>
        <p:spPr bwMode="gray">
          <a:xfrm>
            <a:off x="2142955" y="2021819"/>
            <a:ext cx="1846057" cy="34398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trategic Align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Power Platform Feasibility Questionnai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Other Solutions Feasibility Questionnaire </a:t>
            </a: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Effort Estimation Proces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de-DE" sz="950" dirty="0">
                <a:solidFill>
                  <a:schemeClr val="tx1">
                    <a:lumMod val="50000"/>
                  </a:schemeClr>
                </a:solidFill>
              </a:rPr>
              <a:t>PERT Effort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de-DE" sz="950" dirty="0">
                <a:solidFill>
                  <a:schemeClr val="tx1">
                    <a:lumMod val="50000"/>
                  </a:schemeClr>
                </a:solidFill>
              </a:rPr>
              <a:t>UseCase Effort 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de-DE" sz="950" dirty="0">
                <a:solidFill>
                  <a:schemeClr val="tx1">
                    <a:lumMod val="50000"/>
                  </a:schemeClr>
                </a:solidFill>
              </a:rPr>
              <a:t>AgileEpics Effort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C5308E7-E970-47A1-81B7-BE73034C8074}"/>
              </a:ext>
            </a:extLst>
          </p:cNvPr>
          <p:cNvSpPr/>
          <p:nvPr/>
        </p:nvSpPr>
        <p:spPr bwMode="gray">
          <a:xfrm>
            <a:off x="127514" y="2016925"/>
            <a:ext cx="1846057" cy="34447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trategic Align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50" dirty="0">
                <a:solidFill>
                  <a:srgbClr val="FF0000"/>
                </a:solidFill>
              </a:rPr>
              <a:t>Link to SNOW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  <a:hlinkClick r:id="rId3"/>
              </a:rPr>
              <a:t>Demand Management Dashboard</a:t>
            </a: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Efficiency /Controlling:</a:t>
            </a: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Page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Project / Team Status Reporting</a:t>
            </a: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Link to Power BI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Demand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FF0000"/>
                </a:solidFill>
              </a:rPr>
              <a:t>Link to Power BI: </a:t>
            </a: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Project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5C345F5-CF16-489C-AFE2-AD20AE0A8B2B}"/>
              </a:ext>
            </a:extLst>
          </p:cNvPr>
          <p:cNvSpPr/>
          <p:nvPr/>
        </p:nvSpPr>
        <p:spPr bwMode="gray">
          <a:xfrm>
            <a:off x="2279615" y="6041393"/>
            <a:ext cx="2382773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FF0000"/>
                </a:solidFill>
              </a:rPr>
              <a:t>Link to SharePoint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de-DE" sz="1000" b="1" dirty="0">
                <a:solidFill>
                  <a:schemeClr val="tx1">
                    <a:lumMod val="50000"/>
                  </a:schemeClr>
                </a:solidFill>
                <a:hlinkClick r:id="rId4"/>
              </a:rPr>
              <a:t>Global Objectives</a:t>
            </a:r>
            <a:endParaRPr lang="de-DE" sz="1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5CF9882-1784-47D1-8618-3F58F2586270}"/>
              </a:ext>
            </a:extLst>
          </p:cNvPr>
          <p:cNvSpPr/>
          <p:nvPr/>
        </p:nvSpPr>
        <p:spPr bwMode="gray">
          <a:xfrm>
            <a:off x="4812955" y="6045880"/>
            <a:ext cx="2383200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FF0000"/>
                </a:solidFill>
              </a:rPr>
              <a:t>Link to SharePoint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de-DE" sz="1000" b="1" dirty="0">
                <a:solidFill>
                  <a:schemeClr val="tx1">
                    <a:lumMod val="50000"/>
                  </a:schemeClr>
                </a:solidFill>
                <a:hlinkClick r:id="rId5"/>
              </a:rPr>
              <a:t>Organizational Structure</a:t>
            </a:r>
            <a:endParaRPr lang="de-DE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98EBB4-1D1C-4BCE-95EA-4B8DC55D82BF}"/>
              </a:ext>
            </a:extLst>
          </p:cNvPr>
          <p:cNvSpPr/>
          <p:nvPr/>
        </p:nvSpPr>
        <p:spPr bwMode="gray">
          <a:xfrm>
            <a:off x="8202272" y="2030020"/>
            <a:ext cx="1846057" cy="3431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86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860" b="1" dirty="0">
                <a:solidFill>
                  <a:schemeClr val="tx1">
                    <a:lumMod val="50000"/>
                  </a:schemeClr>
                </a:solidFill>
              </a:rPr>
              <a:t>Teams Empower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de-DE" sz="860" dirty="0">
                <a:solidFill>
                  <a:schemeClr val="tx1">
                    <a:lumMod val="50000"/>
                  </a:schemeClr>
                </a:solidFill>
              </a:rPr>
              <a:t>Agile &amp; Hybrid Software Development Methodologies and Tools</a:t>
            </a:r>
          </a:p>
          <a:p>
            <a:r>
              <a:rPr lang="en-US" sz="86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Link to Power BI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Tracking and Monitoring of </a:t>
            </a:r>
            <a:r>
              <a:rPr lang="de-DE" sz="860" dirty="0">
                <a:solidFill>
                  <a:schemeClr val="tx1">
                    <a:lumMod val="50000"/>
                  </a:schemeClr>
                </a:solidFill>
              </a:rPr>
              <a:t>Software Development KPIs</a:t>
            </a:r>
          </a:p>
          <a:p>
            <a:r>
              <a:rPr lang="de-DE" sz="860" b="1" dirty="0">
                <a:solidFill>
                  <a:schemeClr val="tx1">
                    <a:lumMod val="50000"/>
                  </a:schemeClr>
                </a:solidFill>
              </a:rPr>
              <a:t>Quality Assurance Processes and Tool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Quality Assurance Gover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Test Management and Automation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Test Management &amp; DevOps Processes &amp; Tools</a:t>
            </a:r>
          </a:p>
          <a:p>
            <a:r>
              <a:rPr lang="en-US" sz="86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Link to Power BI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  <a:highlight>
                  <a:srgbClr val="FFFF00"/>
                </a:highlight>
              </a:rPr>
              <a:t>Tracking and Monitoring of Quality and Test Management KPIs</a:t>
            </a:r>
          </a:p>
          <a:p>
            <a:r>
              <a:rPr lang="en-US" sz="860" b="1" dirty="0">
                <a:solidFill>
                  <a:schemeClr val="tx1">
                    <a:lumMod val="50000"/>
                  </a:schemeClr>
                </a:solidFill>
              </a:rPr>
              <a:t>Enterprise Architectur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60" dirty="0">
                <a:solidFill>
                  <a:srgbClr val="FF0000"/>
                </a:solidFill>
              </a:rPr>
              <a:t>Link to SNOW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  <a:hlinkClick r:id="rId6"/>
              </a:rPr>
              <a:t>Licensing Model Dashboard </a:t>
            </a:r>
            <a:endParaRPr lang="en-US" sz="86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Power Platform Best Pract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60" dirty="0">
                <a:solidFill>
                  <a:srgbClr val="FF0000"/>
                </a:solidFill>
              </a:rPr>
              <a:t>Page: </a:t>
            </a:r>
            <a:r>
              <a:rPr lang="en-US" sz="860" dirty="0">
                <a:solidFill>
                  <a:schemeClr val="tx1">
                    <a:lumMod val="50000"/>
                  </a:schemeClr>
                </a:solidFill>
              </a:rPr>
              <a:t>Other Microsoft Solution Best Pract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8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1000" dirty="0">
                <a:solidFill>
                  <a:schemeClr val="tx1">
                    <a:lumMod val="50000"/>
                  </a:schemeClr>
                </a:solidFill>
              </a:rPr>
              <a:t>                                                                        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en-US" sz="1400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" name="Rechteck 6">
            <a:extLst>
              <a:ext uri="{FF2B5EF4-FFF2-40B4-BE49-F238E27FC236}">
                <a16:creationId xmlns:a16="http://schemas.microsoft.com/office/drawing/2014/main" id="{779053EB-FD60-4826-BC50-4C84BF57ABB3}"/>
              </a:ext>
            </a:extLst>
          </p:cNvPr>
          <p:cNvSpPr/>
          <p:nvPr/>
        </p:nvSpPr>
        <p:spPr bwMode="gray">
          <a:xfrm>
            <a:off x="2143006" y="1489413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oftware Development Estimation Process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CC5094C8-4258-42DD-A75E-93D93E044ABC}"/>
              </a:ext>
            </a:extLst>
          </p:cNvPr>
          <p:cNvSpPr/>
          <p:nvPr/>
        </p:nvSpPr>
        <p:spPr bwMode="gray">
          <a:xfrm>
            <a:off x="4158396" y="1521157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Capacity &amp; Resource Planning</a:t>
            </a:r>
          </a:p>
        </p:txBody>
      </p:sp>
      <p:sp>
        <p:nvSpPr>
          <p:cNvPr id="22" name="Rechteck 6">
            <a:extLst>
              <a:ext uri="{FF2B5EF4-FFF2-40B4-BE49-F238E27FC236}">
                <a16:creationId xmlns:a16="http://schemas.microsoft.com/office/drawing/2014/main" id="{3A97D205-3C17-487F-B2A1-A8D5A5A396D6}"/>
              </a:ext>
            </a:extLst>
          </p:cNvPr>
          <p:cNvSpPr/>
          <p:nvPr/>
        </p:nvSpPr>
        <p:spPr bwMode="gray">
          <a:xfrm>
            <a:off x="6173836" y="1489413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upplier Management</a:t>
            </a:r>
          </a:p>
        </p:txBody>
      </p:sp>
      <p:sp>
        <p:nvSpPr>
          <p:cNvPr id="23" name="Rechteck 6">
            <a:extLst>
              <a:ext uri="{FF2B5EF4-FFF2-40B4-BE49-F238E27FC236}">
                <a16:creationId xmlns:a16="http://schemas.microsoft.com/office/drawing/2014/main" id="{5CDFFCA3-3FBF-4375-90A3-47EF498B3300}"/>
              </a:ext>
            </a:extLst>
          </p:cNvPr>
          <p:cNvSpPr/>
          <p:nvPr/>
        </p:nvSpPr>
        <p:spPr bwMode="gray">
          <a:xfrm>
            <a:off x="8202272" y="1489413"/>
            <a:ext cx="1846057" cy="3715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oftware Development and Architecture</a:t>
            </a:r>
          </a:p>
        </p:txBody>
      </p:sp>
      <p:sp>
        <p:nvSpPr>
          <p:cNvPr id="30" name="Rechteck 36">
            <a:extLst>
              <a:ext uri="{FF2B5EF4-FFF2-40B4-BE49-F238E27FC236}">
                <a16:creationId xmlns:a16="http://schemas.microsoft.com/office/drawing/2014/main" id="{35E77FC4-FB53-4A39-BBD6-D548EBB6EA55}"/>
              </a:ext>
            </a:extLst>
          </p:cNvPr>
          <p:cNvSpPr/>
          <p:nvPr/>
        </p:nvSpPr>
        <p:spPr bwMode="gray">
          <a:xfrm>
            <a:off x="10244565" y="2030019"/>
            <a:ext cx="1846057" cy="34316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8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Change Management Proces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dirty="0">
                <a:solidFill>
                  <a:srgbClr val="FF0000"/>
                </a:solidFill>
              </a:rPr>
              <a:t>Link to SNOW: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  <a:hlinkClick r:id="rId7"/>
              </a:rPr>
              <a:t>Change Management Dashboard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Defect-Incident Management Proces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dirty="0">
                <a:solidFill>
                  <a:srgbClr val="FF0000"/>
                </a:solidFill>
              </a:rPr>
              <a:t>Link to SNOW: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  <a:hlinkClick r:id="rId8"/>
              </a:rPr>
              <a:t>Defect-Incident Management Dashboard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FF0000"/>
                </a:solidFill>
              </a:rPr>
              <a:t>Link to Power BI</a:t>
            </a:r>
            <a:r>
              <a:rPr lang="de-DE" sz="900" dirty="0">
                <a:solidFill>
                  <a:srgbClr val="FF0000"/>
                </a:solidFill>
              </a:rPr>
              <a:t>: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Change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FF0000"/>
                </a:solidFill>
              </a:rPr>
              <a:t>Link to Power BI: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Defects-Incident-Change Management KPIs</a:t>
            </a:r>
            <a:endParaRPr lang="de-DE" sz="900" dirty="0">
              <a:solidFill>
                <a:srgbClr val="FF0000"/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Triage for Incident Mgmt.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FF0000"/>
                </a:solidFill>
              </a:rPr>
              <a:t>Link to Power BI: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otal Defects &amp; Incidents Dashboard</a:t>
            </a:r>
            <a:endParaRPr lang="en-US" sz="900" dirty="0">
              <a:solidFill>
                <a:srgbClr val="FF0000"/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Root Cause Analysi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FF0000"/>
                </a:solidFill>
              </a:rPr>
              <a:t>Link to Power BI: </a:t>
            </a:r>
            <a:r>
              <a:rPr lang="en-US" sz="900">
                <a:solidFill>
                  <a:schemeClr val="tx1">
                    <a:lumMod val="50000"/>
                  </a:schemeClr>
                </a:solidFill>
              </a:rPr>
              <a:t>Total Defects 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Root Cause Analysis Dashbo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85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5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FAA3DB0-484F-42FE-8EB4-15FFCA0B8023}"/>
              </a:ext>
            </a:extLst>
          </p:cNvPr>
          <p:cNvSpPr/>
          <p:nvPr/>
        </p:nvSpPr>
        <p:spPr bwMode="gray">
          <a:xfrm>
            <a:off x="10218429" y="1488128"/>
            <a:ext cx="1846057" cy="3655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Change / Defects / Incident Management</a:t>
            </a:r>
          </a:p>
        </p:txBody>
      </p:sp>
      <p:sp>
        <p:nvSpPr>
          <p:cNvPr id="24" name="Rechteck 37">
            <a:extLst>
              <a:ext uri="{FF2B5EF4-FFF2-40B4-BE49-F238E27FC236}">
                <a16:creationId xmlns:a16="http://schemas.microsoft.com/office/drawing/2014/main" id="{1F43CF3C-746D-484D-A675-B3541FE2432C}"/>
              </a:ext>
            </a:extLst>
          </p:cNvPr>
          <p:cNvSpPr/>
          <p:nvPr/>
        </p:nvSpPr>
        <p:spPr bwMode="gray">
          <a:xfrm>
            <a:off x="7346722" y="6038137"/>
            <a:ext cx="2382773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FF0000"/>
                </a:solidFill>
              </a:rPr>
              <a:t>Link to SharePoint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de-DE" sz="1000" b="1" dirty="0">
                <a:solidFill>
                  <a:schemeClr val="tx1">
                    <a:lumMod val="50000"/>
                  </a:schemeClr>
                </a:solidFill>
                <a:hlinkClick r:id="rId4"/>
              </a:rPr>
              <a:t>Global Documentation</a:t>
            </a:r>
            <a:endParaRPr lang="de-DE" sz="10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73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50D85-BD67-4F7F-A891-AE8D83066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01" y="365127"/>
            <a:ext cx="9560750" cy="537633"/>
          </a:xfrm>
        </p:spPr>
        <p:txBody>
          <a:bodyPr/>
          <a:lstStyle/>
          <a:p>
            <a:r>
              <a:rPr lang="es-ES_tradnl" dirty="0" err="1"/>
              <a:t>Power</a:t>
            </a:r>
            <a:r>
              <a:rPr lang="es-ES_tradnl" dirty="0"/>
              <a:t> </a:t>
            </a:r>
            <a:r>
              <a:rPr lang="es-ES_tradnl" dirty="0" err="1"/>
              <a:t>Platform</a:t>
            </a:r>
            <a:r>
              <a:rPr lang="es-ES_tradnl" dirty="0"/>
              <a:t> - </a:t>
            </a:r>
            <a:r>
              <a:rPr lang="es-ES_tradnl" dirty="0" err="1"/>
              <a:t>Delivery</a:t>
            </a:r>
            <a:r>
              <a:rPr lang="es-ES_tradnl" dirty="0"/>
              <a:t> Centre – </a:t>
            </a:r>
            <a:r>
              <a:rPr lang="es-ES_tradnl" dirty="0" err="1"/>
              <a:t>Skills</a:t>
            </a:r>
            <a:r>
              <a:rPr lang="es-ES_tradnl" dirty="0"/>
              <a:t> </a:t>
            </a:r>
            <a:r>
              <a:rPr lang="es-ES_tradnl" dirty="0" err="1"/>
              <a:t>Resource</a:t>
            </a:r>
            <a:r>
              <a:rPr lang="es-ES_tradnl" dirty="0"/>
              <a:t> Matrix</a:t>
            </a:r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6CE35-1122-49B2-8740-49BC085963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10" name="Marcador de pie de página 2">
            <a:extLst>
              <a:ext uri="{FF2B5EF4-FFF2-40B4-BE49-F238E27FC236}">
                <a16:creationId xmlns:a16="http://schemas.microsoft.com/office/drawing/2014/main" id="{2899866B-81F7-4DCD-A8EE-B3FBB70F7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9B7AC1B9-119A-493E-8A7A-9100866524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5523" y="980941"/>
            <a:ext cx="7427945" cy="76944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kumimoji="0" lang="es-ES_tradnl" altLang="es-ES" sz="1400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Funcitional</a:t>
            </a:r>
            <a:r>
              <a:rPr kumimoji="0" lang="es-ES_tradnl" altLang="es-ES" sz="1400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R</a:t>
            </a:r>
            <a:r>
              <a:rPr kumimoji="0" lang="es-ES" altLang="es-ES" sz="1400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quirements</a:t>
            </a:r>
            <a:r>
              <a:rPr kumimoji="0" lang="es-ES" altLang="es-ES" sz="1400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:</a:t>
            </a:r>
          </a:p>
          <a:p>
            <a:pPr marL="228600" lvl="0" indent="-228600">
              <a:buAutoNum type="arabicPeriod"/>
            </a:pP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User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will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be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abl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o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upload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resources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and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kills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information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including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loading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h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profil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of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h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resourc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.</a:t>
            </a:r>
          </a:p>
          <a:p>
            <a:pPr marL="228600" lvl="0" indent="-228600">
              <a:buAutoNum type="arabicPeriod"/>
            </a:pP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User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will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be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abl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o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earch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for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pecific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kill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(s) and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expertis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(s), and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receiv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a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result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.</a:t>
            </a:r>
          </a:p>
          <a:p>
            <a:pPr lvl="0"/>
            <a:endParaRPr kumimoji="0" lang="es-ES" altLang="es-ES" sz="1200" b="1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148C6C-DB26-4087-9586-C734E3C10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858" y="1828563"/>
            <a:ext cx="5764428" cy="4531355"/>
          </a:xfrm>
          <a:prstGeom prst="rect">
            <a:avLst/>
          </a:prstGeom>
          <a:ln w="38100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23439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50D85-BD67-4F7F-A891-AE8D83066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8669"/>
            <a:ext cx="9404810" cy="537633"/>
          </a:xfrm>
        </p:spPr>
        <p:txBody>
          <a:bodyPr/>
          <a:lstStyle/>
          <a:p>
            <a:r>
              <a:rPr lang="es-ES_tradnl" dirty="0" err="1"/>
              <a:t>Power</a:t>
            </a:r>
            <a:r>
              <a:rPr lang="es-ES_tradnl" dirty="0"/>
              <a:t> </a:t>
            </a:r>
            <a:r>
              <a:rPr lang="es-ES_tradnl" dirty="0" err="1"/>
              <a:t>Platform</a:t>
            </a:r>
            <a:r>
              <a:rPr lang="es-ES_tradnl" dirty="0"/>
              <a:t> - </a:t>
            </a:r>
            <a:r>
              <a:rPr lang="es-ES_tradnl" dirty="0" err="1"/>
              <a:t>Delivery</a:t>
            </a:r>
            <a:r>
              <a:rPr lang="es-ES_tradnl" dirty="0"/>
              <a:t> Centre – </a:t>
            </a:r>
            <a:r>
              <a:rPr lang="es-ES_tradnl" dirty="0" err="1"/>
              <a:t>Licensing</a:t>
            </a:r>
            <a:r>
              <a:rPr lang="es-ES_tradnl" dirty="0"/>
              <a:t> </a:t>
            </a:r>
            <a:r>
              <a:rPr lang="es-ES_tradnl" dirty="0" err="1"/>
              <a:t>Information</a:t>
            </a:r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6CE35-1122-49B2-8740-49BC085963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B494EFA6-FE63-4CC1-8395-1E8EC085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812" y="1652944"/>
            <a:ext cx="7427945" cy="76944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kumimoji="0" lang="es-ES_tradnl" altLang="es-ES" sz="1400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Funcitional</a:t>
            </a:r>
            <a:r>
              <a:rPr kumimoji="0" lang="es-ES_tradnl" altLang="es-ES" sz="1400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R</a:t>
            </a:r>
            <a:r>
              <a:rPr kumimoji="0" lang="es-ES" altLang="es-ES" sz="1400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quirements</a:t>
            </a:r>
            <a:r>
              <a:rPr kumimoji="0" lang="es-ES" altLang="es-ES" sz="1400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:</a:t>
            </a:r>
          </a:p>
          <a:p>
            <a:pPr marL="228600" lvl="0" indent="-228600">
              <a:buFont typeface="+mj-lt"/>
              <a:buAutoNum type="arabicPeriod"/>
            </a:pP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Creat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a page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hat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licensing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information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can be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maintained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(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e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exampl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below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/ Excel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attached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)</a:t>
            </a:r>
          </a:p>
          <a:p>
            <a:pPr marL="228600" lvl="0" indent="-228600">
              <a:buFont typeface="+mj-lt"/>
              <a:buAutoNum type="arabicPeriod"/>
            </a:pP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Use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ower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utomate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o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send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a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essage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when</a:t>
            </a:r>
            <a:r>
              <a:rPr kumimoji="0" lang="es-ES" altLang="es-ES" sz="120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a </a:t>
            </a:r>
            <a:r>
              <a:rPr kumimoji="0" lang="es-ES" altLang="es-ES" sz="120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licens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is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ready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to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be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expired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(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see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sz="1200" dirty="0" err="1">
                <a:solidFill>
                  <a:srgbClr val="404040"/>
                </a:solidFill>
                <a:latin typeface="+mj-lt"/>
              </a:rPr>
              <a:t>Expiration</a:t>
            </a:r>
            <a:r>
              <a:rPr lang="es-ES" altLang="es-ES" sz="1200" dirty="0">
                <a:solidFill>
                  <a:srgbClr val="404040"/>
                </a:solidFill>
                <a:latin typeface="+mj-lt"/>
              </a:rPr>
              <a:t> Date)</a:t>
            </a:r>
            <a:endParaRPr kumimoji="0" lang="es-ES" altLang="es-ES" sz="1200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lvl="0"/>
            <a:endParaRPr kumimoji="0" lang="es-ES" altLang="es-ES" sz="1200" b="1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sp>
        <p:nvSpPr>
          <p:cNvPr id="10" name="Marcador de pie de página 2">
            <a:extLst>
              <a:ext uri="{FF2B5EF4-FFF2-40B4-BE49-F238E27FC236}">
                <a16:creationId xmlns:a16="http://schemas.microsoft.com/office/drawing/2014/main" id="{2899866B-81F7-4DCD-A8EE-B3FBB70F7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7509145-3195-43A8-B227-3BB55EF6C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812" y="2594873"/>
            <a:ext cx="11611896" cy="1293994"/>
          </a:xfrm>
          <a:prstGeom prst="rect">
            <a:avLst/>
          </a:prstGeom>
          <a:ln w="38100">
            <a:solidFill>
              <a:srgbClr val="00B050"/>
            </a:solidFill>
          </a:ln>
        </p:spPr>
      </p:pic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CF713DDD-84D0-48DD-8075-F6137F336C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6711010"/>
              </p:ext>
            </p:extLst>
          </p:nvPr>
        </p:nvGraphicFramePr>
        <p:xfrm>
          <a:off x="5078360" y="436873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Worksheet" showAsIcon="1" r:id="rId4" imgW="914282" imgH="792690" progId="Excel.Sheet.12">
                  <p:embed/>
                </p:oleObj>
              </mc:Choice>
              <mc:Fallback>
                <p:oleObj name="Worksheet" showAsIcon="1" r:id="rId4" imgW="914282" imgH="7926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078360" y="436873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992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B1FA2E-FF84-4FB1-8EE0-2F27196D8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Questions</a:t>
            </a:r>
            <a:r>
              <a:rPr lang="es-ES_tradnl" dirty="0"/>
              <a:t> and </a:t>
            </a:r>
            <a:r>
              <a:rPr lang="es-ES_tradnl" dirty="0" err="1"/>
              <a:t>Answers</a:t>
            </a:r>
            <a:endParaRPr lang="es-E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F0BC1BD-891E-4386-A3C3-2C070E0CFB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DEKRA Global Delivery Centre</a:t>
            </a:r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259A28D-B3E0-40CC-ADBB-46C4587E90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22</a:t>
            </a:fld>
            <a:endParaRPr lang="en-US" noProof="0"/>
          </a:p>
        </p:txBody>
      </p:sp>
      <p:pic>
        <p:nvPicPr>
          <p:cNvPr id="112642" name="Picture 2" descr="Group of People Asking Questions Stock Photo by ©Rawpixel 52467393">
            <a:extLst>
              <a:ext uri="{FF2B5EF4-FFF2-40B4-BE49-F238E27FC236}">
                <a16:creationId xmlns:a16="http://schemas.microsoft.com/office/drawing/2014/main" id="{C7B62A94-8429-4E12-BEF5-938C44AA1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256058"/>
            <a:ext cx="6848475" cy="455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38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745054" y="6506262"/>
            <a:ext cx="2239216" cy="365125"/>
          </a:xfrm>
        </p:spPr>
        <p:txBody>
          <a:bodyPr/>
          <a:lstStyle/>
          <a:p>
            <a:r>
              <a:rPr lang="de-DE" dirty="0"/>
              <a:t>DEKRA Global Delivery Cent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E6295-D2B0-4263-9A86-63CB6A24C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13" y="315911"/>
            <a:ext cx="9822029" cy="537633"/>
          </a:xfrm>
        </p:spPr>
        <p:txBody>
          <a:bodyPr/>
          <a:lstStyle/>
          <a:p>
            <a:r>
              <a:rPr lang="de-DE" dirty="0"/>
              <a:t>| EMEA Delivery Centre Governanc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D6E2C29-080B-48A9-AC35-69DD9CE9AA67}"/>
              </a:ext>
            </a:extLst>
          </p:cNvPr>
          <p:cNvSpPr/>
          <p:nvPr/>
        </p:nvSpPr>
        <p:spPr bwMode="gray">
          <a:xfrm>
            <a:off x="127514" y="1479238"/>
            <a:ext cx="1846057" cy="3967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Demand / Project / Team Management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EF7427-52B8-4C44-AEDE-6D11F5641CC9}"/>
              </a:ext>
            </a:extLst>
          </p:cNvPr>
          <p:cNvSpPr/>
          <p:nvPr/>
        </p:nvSpPr>
        <p:spPr bwMode="gray">
          <a:xfrm>
            <a:off x="138191" y="928765"/>
            <a:ext cx="11989008" cy="4531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</a:rPr>
              <a:t>Delivery Centre Governance Modules</a:t>
            </a:r>
            <a:br>
              <a:rPr lang="de-DE" sz="20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e-DE" sz="1100" dirty="0">
                <a:solidFill>
                  <a:schemeClr val="tx1">
                    <a:lumMod val="50000"/>
                  </a:schemeClr>
                </a:solidFill>
              </a:rPr>
              <a:t>[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Governance includes the definition of objectives, the methods for implementation and the resource planning required for this.]</a:t>
            </a: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D381F7D-FAE5-4AE0-AB2A-EAC83616B9BA}"/>
              </a:ext>
            </a:extLst>
          </p:cNvPr>
          <p:cNvSpPr/>
          <p:nvPr/>
        </p:nvSpPr>
        <p:spPr bwMode="gray">
          <a:xfrm>
            <a:off x="127514" y="5583399"/>
            <a:ext cx="11963108" cy="3651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</a:rPr>
              <a:t>Organisatio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F81C6B0-5BC4-4C04-AB84-88A852E4BAAD}"/>
              </a:ext>
            </a:extLst>
          </p:cNvPr>
          <p:cNvSpPr/>
          <p:nvPr/>
        </p:nvSpPr>
        <p:spPr bwMode="gray">
          <a:xfrm>
            <a:off x="6173837" y="2030020"/>
            <a:ext cx="1846057" cy="3431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Flexibilit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Cost Estimation per Vendor</a:t>
            </a: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Performance Management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Service Providers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endParaRPr lang="de-DE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de-DE" sz="12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en-US" sz="1400" dirty="0">
                <a:solidFill>
                  <a:schemeClr val="tx1">
                    <a:lumMod val="50000"/>
                  </a:schemeClr>
                </a:solidFill>
              </a:rPr>
            </a:b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F2828B7-DA45-4003-A682-393A554AA26B}"/>
              </a:ext>
            </a:extLst>
          </p:cNvPr>
          <p:cNvSpPr/>
          <p:nvPr/>
        </p:nvSpPr>
        <p:spPr bwMode="gray">
          <a:xfrm>
            <a:off x="4158396" y="2053806"/>
            <a:ext cx="1846057" cy="34078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Capacity &amp; Resource Plann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50" dirty="0">
                <a:solidFill>
                  <a:schemeClr val="tx1">
                    <a:lumMod val="50000"/>
                  </a:schemeClr>
                </a:solidFill>
              </a:rPr>
              <a:t>Capacity &amp; Resource Planning Dashboard</a:t>
            </a: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kills Optimizat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Resource Skills Matr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77D2594-4E9F-4A81-85E8-A06B2B78A55C}"/>
              </a:ext>
            </a:extLst>
          </p:cNvPr>
          <p:cNvSpPr/>
          <p:nvPr/>
        </p:nvSpPr>
        <p:spPr bwMode="gray">
          <a:xfrm>
            <a:off x="2142955" y="2021819"/>
            <a:ext cx="1846057" cy="34398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2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trategic Align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Power Platform Feasibility Questionnai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Other Solutions Feasibility Questionnaire </a:t>
            </a: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Effort Estimation Proces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PERT Effort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UseCase Effort 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AgileEpics Effort Estimation To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C5308E7-E970-47A1-81B7-BE73034C8074}"/>
              </a:ext>
            </a:extLst>
          </p:cNvPr>
          <p:cNvSpPr/>
          <p:nvPr/>
        </p:nvSpPr>
        <p:spPr bwMode="gray">
          <a:xfrm>
            <a:off x="127514" y="2016925"/>
            <a:ext cx="1846057" cy="34447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Strategic Align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linkClick r:id="rId3"/>
              </a:rPr>
              <a:t>Demand Management Dashboard</a:t>
            </a: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50" b="1" dirty="0">
                <a:solidFill>
                  <a:schemeClr val="tx1">
                    <a:lumMod val="50000"/>
                  </a:schemeClr>
                </a:solidFill>
              </a:rPr>
              <a:t>Efficiency /Controlling:</a:t>
            </a: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Project / Team Status Reporting</a:t>
            </a:r>
          </a:p>
          <a:p>
            <a:r>
              <a:rPr lang="en-US" sz="95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Demand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chemeClr val="tx1">
                    <a:lumMod val="50000"/>
                  </a:schemeClr>
                </a:solidFill>
              </a:rPr>
              <a:t>Tracking and Monitoring of Project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5C345F5-CF16-489C-AFE2-AD20AE0A8B2B}"/>
              </a:ext>
            </a:extLst>
          </p:cNvPr>
          <p:cNvSpPr/>
          <p:nvPr/>
        </p:nvSpPr>
        <p:spPr bwMode="gray">
          <a:xfrm>
            <a:off x="2279615" y="6041393"/>
            <a:ext cx="2382773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hlinkClick r:id="rId4"/>
              </a:rPr>
              <a:t>Global Objectives</a:t>
            </a:r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5CF9882-1784-47D1-8618-3F58F2586270}"/>
              </a:ext>
            </a:extLst>
          </p:cNvPr>
          <p:cNvSpPr/>
          <p:nvPr/>
        </p:nvSpPr>
        <p:spPr bwMode="gray">
          <a:xfrm>
            <a:off x="4812955" y="6045880"/>
            <a:ext cx="2383200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hlinkClick r:id="rId5"/>
              </a:rPr>
              <a:t>Organizational Structure</a:t>
            </a: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98EBB4-1D1C-4BCE-95EA-4B8DC55D82BF}"/>
              </a:ext>
            </a:extLst>
          </p:cNvPr>
          <p:cNvSpPr/>
          <p:nvPr/>
        </p:nvSpPr>
        <p:spPr bwMode="gray">
          <a:xfrm>
            <a:off x="8202272" y="2030020"/>
            <a:ext cx="1846057" cy="3431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400" b="1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br>
              <a:rPr lang="de-DE" sz="1400" b="1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de-DE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900" b="1" dirty="0">
                <a:solidFill>
                  <a:schemeClr val="tx1">
                    <a:lumMod val="50000"/>
                  </a:schemeClr>
                </a:solidFill>
              </a:rPr>
              <a:t>Teams Empower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Agile &amp; Hybrid Software Development Methodologies and Tools</a:t>
            </a: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</a:t>
            </a:r>
            <a:r>
              <a:rPr lang="de-DE" sz="900" dirty="0">
                <a:solidFill>
                  <a:schemeClr val="tx1">
                    <a:lumMod val="50000"/>
                  </a:schemeClr>
                </a:solidFill>
              </a:rPr>
              <a:t>Software Development KPIs</a:t>
            </a:r>
          </a:p>
          <a:p>
            <a:r>
              <a:rPr lang="de-DE" sz="900" b="1" dirty="0">
                <a:solidFill>
                  <a:schemeClr val="tx1">
                    <a:lumMod val="50000"/>
                  </a:schemeClr>
                </a:solidFill>
              </a:rPr>
              <a:t>Quality Assurance Processes and Tool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Quality Assurance Gover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Test Management and Automation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est &amp; DevOps Management Processes &amp; Tools</a:t>
            </a: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Quality and Test Management KPIs</a:t>
            </a: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Enterprise Architectur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linkClick r:id="rId6"/>
              </a:rPr>
              <a:t>Licensing Model Dashboard </a:t>
            </a:r>
            <a:endParaRPr lang="en-US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Power Platform Best Pract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ighlight>
                  <a:srgbClr val="FF3399"/>
                </a:highlight>
              </a:rPr>
              <a:t>Other Microsoft Solution Best Pract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de-DE" sz="1000" dirty="0">
                <a:solidFill>
                  <a:schemeClr val="tx1">
                    <a:lumMod val="50000"/>
                  </a:schemeClr>
                </a:solidFill>
              </a:rPr>
              <a:t>                                                                        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  <a:p>
            <a:br>
              <a:rPr lang="en-US" sz="1400" dirty="0">
                <a:solidFill>
                  <a:schemeClr val="tx1">
                    <a:lumMod val="50000"/>
                  </a:schemeClr>
                </a:solidFill>
              </a:rPr>
            </a:br>
            <a:endParaRPr lang="de-DE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" name="Rechteck 6">
            <a:extLst>
              <a:ext uri="{FF2B5EF4-FFF2-40B4-BE49-F238E27FC236}">
                <a16:creationId xmlns:a16="http://schemas.microsoft.com/office/drawing/2014/main" id="{779053EB-FD60-4826-BC50-4C84BF57ABB3}"/>
              </a:ext>
            </a:extLst>
          </p:cNvPr>
          <p:cNvSpPr/>
          <p:nvPr/>
        </p:nvSpPr>
        <p:spPr bwMode="gray">
          <a:xfrm>
            <a:off x="2143006" y="1489413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oftware Development Estimation Process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CC5094C8-4258-42DD-A75E-93D93E044ABC}"/>
              </a:ext>
            </a:extLst>
          </p:cNvPr>
          <p:cNvSpPr/>
          <p:nvPr/>
        </p:nvSpPr>
        <p:spPr bwMode="gray">
          <a:xfrm>
            <a:off x="4158396" y="1521157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Capacity &amp; Resource Planning</a:t>
            </a:r>
          </a:p>
        </p:txBody>
      </p:sp>
      <p:sp>
        <p:nvSpPr>
          <p:cNvPr id="22" name="Rechteck 6">
            <a:extLst>
              <a:ext uri="{FF2B5EF4-FFF2-40B4-BE49-F238E27FC236}">
                <a16:creationId xmlns:a16="http://schemas.microsoft.com/office/drawing/2014/main" id="{3A97D205-3C17-487F-B2A1-A8D5A5A396D6}"/>
              </a:ext>
            </a:extLst>
          </p:cNvPr>
          <p:cNvSpPr/>
          <p:nvPr/>
        </p:nvSpPr>
        <p:spPr bwMode="gray">
          <a:xfrm>
            <a:off x="6173836" y="1489413"/>
            <a:ext cx="1846057" cy="380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upplier Management</a:t>
            </a:r>
          </a:p>
        </p:txBody>
      </p:sp>
      <p:sp>
        <p:nvSpPr>
          <p:cNvPr id="23" name="Rechteck 6">
            <a:extLst>
              <a:ext uri="{FF2B5EF4-FFF2-40B4-BE49-F238E27FC236}">
                <a16:creationId xmlns:a16="http://schemas.microsoft.com/office/drawing/2014/main" id="{5CDFFCA3-3FBF-4375-90A3-47EF498B3300}"/>
              </a:ext>
            </a:extLst>
          </p:cNvPr>
          <p:cNvSpPr/>
          <p:nvPr/>
        </p:nvSpPr>
        <p:spPr bwMode="gray">
          <a:xfrm>
            <a:off x="8202272" y="1489413"/>
            <a:ext cx="1846057" cy="3715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Software Development and Architecture</a:t>
            </a:r>
          </a:p>
        </p:txBody>
      </p:sp>
      <p:sp>
        <p:nvSpPr>
          <p:cNvPr id="30" name="Rechteck 36">
            <a:extLst>
              <a:ext uri="{FF2B5EF4-FFF2-40B4-BE49-F238E27FC236}">
                <a16:creationId xmlns:a16="http://schemas.microsoft.com/office/drawing/2014/main" id="{35E77FC4-FB53-4A39-BBD6-D548EBB6EA55}"/>
              </a:ext>
            </a:extLst>
          </p:cNvPr>
          <p:cNvSpPr/>
          <p:nvPr/>
        </p:nvSpPr>
        <p:spPr bwMode="gray">
          <a:xfrm>
            <a:off x="10244565" y="2030019"/>
            <a:ext cx="1846057" cy="34316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85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Change Management Proces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linkClick r:id="rId7"/>
              </a:rPr>
              <a:t>Change Management Dashboard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Defect-Incident Management Process</a:t>
            </a: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hlinkClick r:id="rId8"/>
              </a:rPr>
              <a:t>Defect-Incident Management Dashboard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Performance Manageme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Change Management K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racking and Monitoring of Defects-Incident-Change Management KPIs</a:t>
            </a:r>
            <a:endParaRPr lang="de-DE" sz="900" dirty="0">
              <a:solidFill>
                <a:srgbClr val="FF0000"/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Triage for Incident Mgmt.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otal Defects &amp; Incidents Dashboard</a:t>
            </a:r>
            <a:endParaRPr lang="en-US" sz="900" dirty="0">
              <a:solidFill>
                <a:srgbClr val="FF0000"/>
              </a:solidFill>
            </a:endParaRPr>
          </a:p>
          <a:p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Root Cause Analysi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Total Incidents Root Cause Analysis Dashbo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85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5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5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5" name="Rechteck 6">
            <a:extLst>
              <a:ext uri="{FF2B5EF4-FFF2-40B4-BE49-F238E27FC236}">
                <a16:creationId xmlns:a16="http://schemas.microsoft.com/office/drawing/2014/main" id="{AFAA3DB0-484F-42FE-8EB4-15FFCA0B8023}"/>
              </a:ext>
            </a:extLst>
          </p:cNvPr>
          <p:cNvSpPr/>
          <p:nvPr/>
        </p:nvSpPr>
        <p:spPr bwMode="gray">
          <a:xfrm>
            <a:off x="10218429" y="1488128"/>
            <a:ext cx="1846057" cy="3655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b="1" dirty="0">
                <a:solidFill>
                  <a:schemeClr val="tx1">
                    <a:lumMod val="50000"/>
                  </a:schemeClr>
                </a:solidFill>
              </a:rPr>
              <a:t>Change / Defects / Incident Management</a:t>
            </a:r>
          </a:p>
        </p:txBody>
      </p:sp>
      <p:sp>
        <p:nvSpPr>
          <p:cNvPr id="24" name="Rechteck 37">
            <a:extLst>
              <a:ext uri="{FF2B5EF4-FFF2-40B4-BE49-F238E27FC236}">
                <a16:creationId xmlns:a16="http://schemas.microsoft.com/office/drawing/2014/main" id="{1F43CF3C-746D-484D-A675-B3541FE2432C}"/>
              </a:ext>
            </a:extLst>
          </p:cNvPr>
          <p:cNvSpPr/>
          <p:nvPr/>
        </p:nvSpPr>
        <p:spPr bwMode="gray">
          <a:xfrm>
            <a:off x="7346722" y="6038137"/>
            <a:ext cx="2382773" cy="3651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hlinkClick r:id="rId4"/>
              </a:rPr>
              <a:t>Global Documentation</a:t>
            </a:r>
            <a:endParaRPr lang="de-DE" sz="1100" b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24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54894B5-629E-4599-8B49-C36CAE975B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DD22B6CF-BAF0-45CF-B7CB-C153AF23F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95" y="458412"/>
            <a:ext cx="5580062" cy="537633"/>
          </a:xfrm>
        </p:spPr>
        <p:txBody>
          <a:bodyPr/>
          <a:lstStyle/>
          <a:p>
            <a:r>
              <a:rPr lang="es-ES" dirty="0" err="1"/>
              <a:t>Power</a:t>
            </a:r>
            <a:r>
              <a:rPr lang="es-ES" dirty="0"/>
              <a:t> Apps – </a:t>
            </a:r>
            <a:r>
              <a:rPr lang="es-ES" dirty="0" err="1"/>
              <a:t>Features</a:t>
            </a:r>
            <a:r>
              <a:rPr lang="es-ES" dirty="0"/>
              <a:t> </a:t>
            </a:r>
            <a:r>
              <a:rPr lang="es-ES" dirty="0" err="1"/>
              <a:t>Required</a:t>
            </a:r>
            <a:endParaRPr lang="es-ES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BEABF1D5-85DA-4E21-A77A-1D1D4445B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95" y="1156431"/>
            <a:ext cx="9540210" cy="180049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Download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to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Excel, PDF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or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PPT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altLang="es-ES" dirty="0">
                <a:solidFill>
                  <a:srgbClr val="404040"/>
                </a:solidFill>
                <a:latin typeface="+mj-lt"/>
              </a:rPr>
              <a:t>Pages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with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tables,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documen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versioning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&amp; pop-up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Save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questionnaire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&amp;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projec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information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, so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i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can be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used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by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Power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BI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Calculation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of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cos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per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vendor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giving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the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effor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information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, so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i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can be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used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by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Power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B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i="0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8612D556-D70E-4CC2-A5C3-B6B4264D65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45054" y="6506262"/>
            <a:ext cx="2239216" cy="365125"/>
          </a:xfrm>
        </p:spPr>
        <p:txBody>
          <a:bodyPr/>
          <a:lstStyle/>
          <a:p>
            <a:r>
              <a:rPr lang="de-DE" dirty="0"/>
              <a:t>DEKRA Global Delivery Centre</a:t>
            </a:r>
          </a:p>
        </p:txBody>
      </p:sp>
    </p:spTree>
    <p:extLst>
      <p:ext uri="{BB962C8B-B14F-4D97-AF65-F5344CB8AC3E}">
        <p14:creationId xmlns:p14="http://schemas.microsoft.com/office/powerpoint/2010/main" val="30694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FA1561-0EB0-455F-85E3-31C415CE92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ext für die Fußzei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A1F7BF-745D-470A-8C1F-AE5716D576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86E603A-1BE6-465D-A043-772E8C811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1" y="364137"/>
            <a:ext cx="7321608" cy="295015"/>
          </a:xfrm>
        </p:spPr>
        <p:txBody>
          <a:bodyPr/>
          <a:lstStyle/>
          <a:p>
            <a:r>
              <a:rPr lang="en-NZ" sz="2000" dirty="0">
                <a:latin typeface="Arial Narrow"/>
              </a:rPr>
              <a:t>Project / Team Status Report – Intermediate Page</a:t>
            </a:r>
            <a:endParaRPr lang="en-NZ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7BB40F-9AAB-47FA-A517-8B91E42168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124" y="1552003"/>
            <a:ext cx="8587620" cy="1566101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297509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578E6ED-D75C-4BF0-87DB-2DCC01D72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0" y="126393"/>
            <a:ext cx="10324977" cy="295015"/>
          </a:xfrm>
        </p:spPr>
        <p:txBody>
          <a:bodyPr/>
          <a:lstStyle/>
          <a:p>
            <a:r>
              <a:rPr lang="en-NZ" sz="2000" dirty="0">
                <a:latin typeface="Arial Narrow"/>
              </a:rPr>
              <a:t>Project / Team Status Report – Final Page</a:t>
            </a:r>
            <a:endParaRPr lang="en-NZ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2CDC5F-D900-4082-8E61-5C7B45A508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14800" y="6688066"/>
            <a:ext cx="603191" cy="14453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673082-F094-41F5-A539-FC5A0CDD8B2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555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1A65D17-5D59-4B42-B91E-F2B3247CB5C9}"/>
              </a:ext>
            </a:extLst>
          </p:cNvPr>
          <p:cNvGrpSpPr/>
          <p:nvPr/>
        </p:nvGrpSpPr>
        <p:grpSpPr>
          <a:xfrm>
            <a:off x="606013" y="544074"/>
            <a:ext cx="5499415" cy="1764946"/>
            <a:chOff x="630322" y="1005125"/>
            <a:chExt cx="7816094" cy="140638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586FBD7-D95D-43C5-82C3-2AA1E4A874D4}"/>
                </a:ext>
              </a:extLst>
            </p:cNvPr>
            <p:cNvSpPr txBox="1"/>
            <p:nvPr/>
          </p:nvSpPr>
          <p:spPr bwMode="gray">
            <a:xfrm>
              <a:off x="646546" y="1200727"/>
              <a:ext cx="7799870" cy="1210782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72000" tIns="72000" rIns="72000" bIns="72000" rtlCol="0" anchor="t">
              <a:noAutofit/>
            </a:bodyPr>
            <a:lstStyle/>
            <a:p>
              <a:pPr lvl="0">
                <a:buClr>
                  <a:srgbClr val="007D40"/>
                </a:buClr>
                <a:defRPr/>
              </a:pPr>
              <a:r>
                <a:rPr lang="en-US" sz="800" dirty="0">
                  <a:solidFill>
                    <a:srgbClr val="555555"/>
                  </a:solidFill>
                </a:rPr>
                <a:t>The overall main objectives for a Delivery Centre Model Implementation are:</a:t>
              </a:r>
            </a:p>
            <a:p>
              <a:pPr marL="228600" lvl="0" indent="-228600">
                <a:buClr>
                  <a:srgbClr val="007D40"/>
                </a:buClr>
                <a:buFont typeface="+mj-lt"/>
                <a:buAutoNum type="arabicPeriod"/>
                <a:defRPr/>
              </a:pPr>
              <a:r>
                <a:rPr lang="en-US" sz="800" dirty="0">
                  <a:solidFill>
                    <a:srgbClr val="555555"/>
                  </a:solidFill>
                </a:rPr>
                <a:t>Provide top talent resources by leveraging the internal expertise acquired through the delivery of projects, which are executed on time, on schedule, within budget and quality.</a:t>
              </a:r>
            </a:p>
            <a:p>
              <a:pPr marL="228600" lvl="0" indent="-228600">
                <a:buClr>
                  <a:srgbClr val="007D40"/>
                </a:buClr>
                <a:buFont typeface="+mj-lt"/>
                <a:buAutoNum type="arabicPeriod"/>
                <a:defRPr/>
              </a:pPr>
              <a:r>
                <a:rPr lang="en-NZ" sz="800" dirty="0">
                  <a:solidFill>
                    <a:srgbClr val="555555"/>
                  </a:solidFill>
                </a:rPr>
                <a:t>Act as a Centre of Excellence to </a:t>
              </a:r>
              <a:r>
                <a:rPr lang="en-US" sz="800" dirty="0">
                  <a:solidFill>
                    <a:srgbClr val="555555"/>
                  </a:solidFill>
                </a:rPr>
                <a:t>enforce and streamline the development practices, but also to ensure that the entire organization has the expertise necessary to fulfill its business goals.</a:t>
              </a:r>
              <a:endParaRPr lang="en-NZ" sz="800" dirty="0">
                <a:solidFill>
                  <a:srgbClr val="555555"/>
                </a:solidFill>
              </a:endParaRPr>
            </a:p>
            <a:p>
              <a:pPr marL="228600" lvl="0" indent="-228600">
                <a:buFont typeface="+mj-lt"/>
                <a:buAutoNum type="arabicPeriod"/>
                <a:defRPr/>
              </a:pPr>
              <a:r>
                <a:rPr lang="en-NZ" sz="800" dirty="0">
                  <a:solidFill>
                    <a:srgbClr val="555555"/>
                  </a:solidFill>
                </a:rPr>
                <a:t>Define software development best practices, standards and tools that can be used by other internal software development teams.</a:t>
              </a:r>
            </a:p>
            <a:p>
              <a:pPr marL="228600" lvl="0" indent="-228600">
                <a:buFont typeface="+mj-lt"/>
                <a:buAutoNum type="arabicPeriod"/>
                <a:defRPr/>
              </a:pPr>
              <a:r>
                <a:rPr lang="en-NZ" sz="800" dirty="0">
                  <a:solidFill>
                    <a:srgbClr val="555555"/>
                  </a:solidFill>
                </a:rPr>
                <a:t>Promote an Agile and DevOps methodology </a:t>
              </a:r>
              <a:r>
                <a:rPr lang="en-US" sz="800" dirty="0">
                  <a:solidFill>
                    <a:srgbClr val="555555"/>
                  </a:solidFill>
                </a:rPr>
                <a:t>to shorten the software development life cycle (SDLC) and continuously deliver high-quality software.</a:t>
              </a:r>
              <a:endParaRPr lang="en-NZ" sz="800" dirty="0">
                <a:solidFill>
                  <a:srgbClr val="555555"/>
                </a:solidFill>
              </a:endParaRPr>
            </a:p>
            <a:p>
              <a:pPr marL="228600" lvl="0" indent="-228600">
                <a:buFont typeface="+mj-lt"/>
                <a:buAutoNum type="arabicPeriod"/>
                <a:defRPr/>
              </a:pPr>
              <a:r>
                <a:rPr lang="en-NZ" sz="800" dirty="0">
                  <a:solidFill>
                    <a:srgbClr val="555555"/>
                  </a:solidFill>
                </a:rPr>
                <a:t>Implement a Delivery Centre Governance, which include the Microsoft software development products (e.g., Power Platform, Azure Cloud Services, Dynamics 365 and Microsoft 365)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endParaRPr lang="hu-HU" sz="1200" dirty="0">
                <a:solidFill>
                  <a:srgbClr val="555555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8E7BD8F-69BF-4EB9-9713-1505063B43B6}"/>
                </a:ext>
              </a:extLst>
            </p:cNvPr>
            <p:cNvSpPr txBox="1"/>
            <p:nvPr/>
          </p:nvSpPr>
          <p:spPr bwMode="gray">
            <a:xfrm>
              <a:off x="630322" y="1005125"/>
              <a:ext cx="2314009" cy="214456"/>
            </a:xfrm>
            <a:prstGeom prst="rect">
              <a:avLst/>
            </a:prstGeom>
            <a:solidFill>
              <a:schemeClr val="accent4"/>
            </a:solidFill>
          </p:spPr>
          <p:txBody>
            <a:bodyPr vert="horz" wrap="square" lIns="36000" tIns="0" rIns="3600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  <a:buSzTx/>
                <a:buFontTx/>
                <a:buNone/>
                <a:tabLst/>
                <a:defRPr/>
              </a:pPr>
              <a:r>
                <a:rPr kumimoji="0" lang="en-NZ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mmary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21C1537-8328-40EB-BDF6-145314FBEC60}"/>
              </a:ext>
            </a:extLst>
          </p:cNvPr>
          <p:cNvSpPr txBox="1"/>
          <p:nvPr/>
        </p:nvSpPr>
        <p:spPr bwMode="gray">
          <a:xfrm>
            <a:off x="6237115" y="538996"/>
            <a:ext cx="1612537" cy="20503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Milestone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981E228-8530-4175-9852-75EE4E8FF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733348"/>
              </p:ext>
            </p:extLst>
          </p:nvPr>
        </p:nvGraphicFramePr>
        <p:xfrm>
          <a:off x="629742" y="2607604"/>
          <a:ext cx="5443807" cy="140245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43131">
                  <a:extLst>
                    <a:ext uri="{9D8B030D-6E8A-4147-A177-3AD203B41FA5}">
                      <a16:colId xmlns:a16="http://schemas.microsoft.com/office/drawing/2014/main" val="146220222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318662501"/>
                    </a:ext>
                  </a:extLst>
                </a:gridCol>
                <a:gridCol w="923636">
                  <a:extLst>
                    <a:ext uri="{9D8B030D-6E8A-4147-A177-3AD203B41FA5}">
                      <a16:colId xmlns:a16="http://schemas.microsoft.com/office/drawing/2014/main" val="3483207131"/>
                    </a:ext>
                  </a:extLst>
                </a:gridCol>
                <a:gridCol w="864240">
                  <a:extLst>
                    <a:ext uri="{9D8B030D-6E8A-4147-A177-3AD203B41FA5}">
                      <a16:colId xmlns:a16="http://schemas.microsoft.com/office/drawing/2014/main" val="3735903108"/>
                    </a:ext>
                  </a:extLst>
                </a:gridCol>
              </a:tblGrid>
              <a:tr h="204297">
                <a:tc>
                  <a:txBody>
                    <a:bodyPr/>
                    <a:lstStyle/>
                    <a:p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NZ" sz="10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nned (€)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NZ" sz="10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tual (€)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NZ" sz="10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 (€)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010208"/>
                  </a:ext>
                </a:extLst>
              </a:tr>
              <a:tr h="315294">
                <a:tc>
                  <a:txBody>
                    <a:bodyPr/>
                    <a:lstStyle/>
                    <a:p>
                      <a:r>
                        <a:rPr lang="en-NZ" sz="9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ower Platform Project 2022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99,999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b="0" dirty="0">
                          <a:solidFill>
                            <a:schemeClr val="accent1"/>
                          </a:solidFill>
                        </a:rPr>
                        <a:t>86,500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3,499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303855"/>
                  </a:ext>
                </a:extLst>
              </a:tr>
              <a:tr h="277246">
                <a:tc>
                  <a:txBody>
                    <a:bodyPr/>
                    <a:lstStyle/>
                    <a:p>
                      <a:r>
                        <a:rPr lang="en-NZ" sz="9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porate Strategy Dashboard App 2002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0,000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accent1"/>
                          </a:solidFill>
                        </a:rPr>
                        <a:t>30,000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accent1"/>
                          </a:solidFill>
                        </a:rPr>
                        <a:t>10,000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494617"/>
                  </a:ext>
                </a:extLst>
              </a:tr>
              <a:tr h="277246">
                <a:tc>
                  <a:txBody>
                    <a:bodyPr/>
                    <a:lstStyle/>
                    <a:p>
                      <a:r>
                        <a:rPr lang="en-NZ" sz="9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S Matrix App 2022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9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387860"/>
                  </a:ext>
                </a:extLst>
              </a:tr>
              <a:tr h="277246">
                <a:tc>
                  <a:txBody>
                    <a:bodyPr/>
                    <a:lstStyle/>
                    <a:p>
                      <a:r>
                        <a:rPr lang="en-NZ" sz="9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Translation App 2022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9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accent1"/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7352875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D8034F6E-19F2-461C-BBC3-FCEFD6084412}"/>
              </a:ext>
            </a:extLst>
          </p:cNvPr>
          <p:cNvSpPr txBox="1"/>
          <p:nvPr/>
        </p:nvSpPr>
        <p:spPr bwMode="gray">
          <a:xfrm>
            <a:off x="608192" y="2395068"/>
            <a:ext cx="1628141" cy="214457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3E5495-59E2-490E-80B9-D1C8C4BF45D9}"/>
              </a:ext>
            </a:extLst>
          </p:cNvPr>
          <p:cNvSpPr txBox="1"/>
          <p:nvPr/>
        </p:nvSpPr>
        <p:spPr bwMode="gray">
          <a:xfrm>
            <a:off x="616898" y="4031365"/>
            <a:ext cx="1628141" cy="207197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ities Complet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43D002-60FC-486F-91CE-646F068049D7}"/>
              </a:ext>
            </a:extLst>
          </p:cNvPr>
          <p:cNvSpPr txBox="1"/>
          <p:nvPr/>
        </p:nvSpPr>
        <p:spPr bwMode="gray">
          <a:xfrm>
            <a:off x="6342733" y="3812820"/>
            <a:ext cx="1628141" cy="207197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ities Plann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165D233-4D28-4A78-B487-5A91DF539CA7}"/>
              </a:ext>
            </a:extLst>
          </p:cNvPr>
          <p:cNvSpPr txBox="1"/>
          <p:nvPr/>
        </p:nvSpPr>
        <p:spPr bwMode="gray">
          <a:xfrm>
            <a:off x="614802" y="5550700"/>
            <a:ext cx="1628141" cy="195602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3 Risk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D7FE8D3-61C2-4BDA-83A0-F97C9B4F0D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43023"/>
              </p:ext>
            </p:extLst>
          </p:nvPr>
        </p:nvGraphicFramePr>
        <p:xfrm>
          <a:off x="629742" y="5738953"/>
          <a:ext cx="5464272" cy="108502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760003">
                  <a:extLst>
                    <a:ext uri="{9D8B030D-6E8A-4147-A177-3AD203B41FA5}">
                      <a16:colId xmlns:a16="http://schemas.microsoft.com/office/drawing/2014/main" val="1462202224"/>
                    </a:ext>
                  </a:extLst>
                </a:gridCol>
                <a:gridCol w="674255">
                  <a:extLst>
                    <a:ext uri="{9D8B030D-6E8A-4147-A177-3AD203B41FA5}">
                      <a16:colId xmlns:a16="http://schemas.microsoft.com/office/drawing/2014/main" val="1936698000"/>
                    </a:ext>
                  </a:extLst>
                </a:gridCol>
                <a:gridCol w="701964">
                  <a:extLst>
                    <a:ext uri="{9D8B030D-6E8A-4147-A177-3AD203B41FA5}">
                      <a16:colId xmlns:a16="http://schemas.microsoft.com/office/drawing/2014/main" val="3083959512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1318662501"/>
                    </a:ext>
                  </a:extLst>
                </a:gridCol>
                <a:gridCol w="589141">
                  <a:extLst>
                    <a:ext uri="{9D8B030D-6E8A-4147-A177-3AD203B41FA5}">
                      <a16:colId xmlns:a16="http://schemas.microsoft.com/office/drawing/2014/main" val="3272755398"/>
                    </a:ext>
                  </a:extLst>
                </a:gridCol>
              </a:tblGrid>
              <a:tr h="333379">
                <a:tc>
                  <a:txBody>
                    <a:bodyPr/>
                    <a:lstStyle/>
                    <a:p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ssigned To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5555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  <a:p>
                      <a:pPr algn="ctr"/>
                      <a:endParaRPr lang="en-NZ" sz="10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robability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mpact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010208"/>
                  </a:ext>
                </a:extLst>
              </a:tr>
              <a:tr h="2466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pe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edium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ow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C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34076"/>
                  </a:ext>
                </a:extLst>
              </a:tr>
              <a:tr h="2148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on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High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edium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6431046"/>
                  </a:ext>
                </a:extLst>
              </a:tr>
              <a:tr h="2466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3954987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C8C29E1A-2DF8-42F1-A0AB-8B33B17F678D}"/>
              </a:ext>
            </a:extLst>
          </p:cNvPr>
          <p:cNvSpPr txBox="1"/>
          <p:nvPr/>
        </p:nvSpPr>
        <p:spPr bwMode="gray">
          <a:xfrm>
            <a:off x="6351669" y="5559936"/>
            <a:ext cx="1628141" cy="19560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txBody>
          <a:bodyPr vert="horz" wrap="square" lIns="36000" tIns="0" rIns="36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en-NZ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3 Issues</a:t>
            </a: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35274-B6D1-46E7-9490-51A0B41FE5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265169"/>
              </p:ext>
            </p:extLst>
          </p:nvPr>
        </p:nvGraphicFramePr>
        <p:xfrm>
          <a:off x="6360904" y="761309"/>
          <a:ext cx="5443807" cy="293475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796530">
                  <a:extLst>
                    <a:ext uri="{9D8B030D-6E8A-4147-A177-3AD203B41FA5}">
                      <a16:colId xmlns:a16="http://schemas.microsoft.com/office/drawing/2014/main" val="1462202224"/>
                    </a:ext>
                  </a:extLst>
                </a:gridCol>
                <a:gridCol w="970025">
                  <a:extLst>
                    <a:ext uri="{9D8B030D-6E8A-4147-A177-3AD203B41FA5}">
                      <a16:colId xmlns:a16="http://schemas.microsoft.com/office/drawing/2014/main" val="2748786676"/>
                    </a:ext>
                  </a:extLst>
                </a:gridCol>
                <a:gridCol w="856646">
                  <a:extLst>
                    <a:ext uri="{9D8B030D-6E8A-4147-A177-3AD203B41FA5}">
                      <a16:colId xmlns:a16="http://schemas.microsoft.com/office/drawing/2014/main" val="649087260"/>
                    </a:ext>
                  </a:extLst>
                </a:gridCol>
                <a:gridCol w="820606">
                  <a:extLst>
                    <a:ext uri="{9D8B030D-6E8A-4147-A177-3AD203B41FA5}">
                      <a16:colId xmlns:a16="http://schemas.microsoft.com/office/drawing/2014/main" val="1318662501"/>
                    </a:ext>
                  </a:extLst>
                </a:gridCol>
              </a:tblGrid>
              <a:tr h="347657">
                <a:tc>
                  <a:txBody>
                    <a:bodyPr/>
                    <a:lstStyle/>
                    <a:p>
                      <a:r>
                        <a:rPr lang="en-NZ" sz="1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ileston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tatus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lanned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ctual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2491732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t Practices for Other Microsoft Solutions (DPDC Teams)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on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458003"/>
                  </a:ext>
                </a:extLst>
              </a:tr>
              <a:tr h="29879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porate Strategy Dashboard Go Live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on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268978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EA Delivery Centre Governance Dashboard Go Live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dirty="0">
                          <a:solidFill>
                            <a:srgbClr val="000000"/>
                          </a:solidFill>
                        </a:rPr>
                        <a:t>On Track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g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pPr lvl="0" algn="ctr">
                        <a:buNone/>
                      </a:pP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8031007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e and Implement Quality Assurance and Control Governance</a:t>
                      </a: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900" dirty="0">
                          <a:solidFill>
                            <a:srgbClr val="000000"/>
                          </a:solidFill>
                        </a:rPr>
                        <a:t>Delayed</a:t>
                      </a:r>
                      <a:endParaRPr lang="en-US" sz="9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30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 defTabSz="1219170"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027337"/>
                  </a:ext>
                </a:extLst>
              </a:tr>
              <a:tr h="28470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 defTabSz="1219170"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670018"/>
                  </a:ext>
                </a:extLst>
              </a:tr>
              <a:tr h="28470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 defTabSz="1219170"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0358366"/>
                  </a:ext>
                </a:extLst>
              </a:tr>
              <a:tr h="28470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 defTabSz="1219170"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5744052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10E303-F14E-4D06-BEF6-1178240DBB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551436"/>
              </p:ext>
            </p:extLst>
          </p:nvPr>
        </p:nvGraphicFramePr>
        <p:xfrm>
          <a:off x="633189" y="4192575"/>
          <a:ext cx="5460825" cy="126222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50675">
                  <a:extLst>
                    <a:ext uri="{9D8B030D-6E8A-4147-A177-3AD203B41FA5}">
                      <a16:colId xmlns:a16="http://schemas.microsoft.com/office/drawing/2014/main" val="486277220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573982583"/>
                    </a:ext>
                  </a:extLst>
                </a:gridCol>
                <a:gridCol w="896112">
                  <a:extLst>
                    <a:ext uri="{9D8B030D-6E8A-4147-A177-3AD203B41FA5}">
                      <a16:colId xmlns:a16="http://schemas.microsoft.com/office/drawing/2014/main" val="2440616260"/>
                    </a:ext>
                  </a:extLst>
                </a:gridCol>
                <a:gridCol w="891078">
                  <a:extLst>
                    <a:ext uri="{9D8B030D-6E8A-4147-A177-3AD203B41FA5}">
                      <a16:colId xmlns:a16="http://schemas.microsoft.com/office/drawing/2014/main" val="1680208994"/>
                    </a:ext>
                  </a:extLst>
                </a:gridCol>
              </a:tblGrid>
              <a:tr h="425588">
                <a:tc>
                  <a:txBody>
                    <a:bodyPr/>
                    <a:lstStyle/>
                    <a:p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ssigned To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Target Date</a:t>
                      </a:r>
                    </a:p>
                    <a:p>
                      <a:pPr algn="ctr"/>
                      <a:endParaRPr lang="en-NZ" sz="10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losed Dat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7480"/>
                  </a:ext>
                </a:extLst>
              </a:tr>
              <a:tr h="1682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9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924428"/>
                  </a:ext>
                </a:extLst>
              </a:tr>
              <a:tr h="1682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9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289962"/>
                  </a:ext>
                </a:extLst>
              </a:tr>
              <a:tr h="1682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9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252253"/>
                  </a:ext>
                </a:extLst>
              </a:tr>
              <a:tr h="1682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-22</a:t>
                      </a:r>
                      <a:endParaRPr lang="en-NZ" sz="9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415702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A4D53056-42F5-4D10-8C18-E4ADF3E21B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071254"/>
              </p:ext>
            </p:extLst>
          </p:nvPr>
        </p:nvGraphicFramePr>
        <p:xfrm>
          <a:off x="6360904" y="4022833"/>
          <a:ext cx="5380179" cy="142337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35040">
                  <a:extLst>
                    <a:ext uri="{9D8B030D-6E8A-4147-A177-3AD203B41FA5}">
                      <a16:colId xmlns:a16="http://schemas.microsoft.com/office/drawing/2014/main" val="486277220"/>
                    </a:ext>
                  </a:extLst>
                </a:gridCol>
                <a:gridCol w="1161288">
                  <a:extLst>
                    <a:ext uri="{9D8B030D-6E8A-4147-A177-3AD203B41FA5}">
                      <a16:colId xmlns:a16="http://schemas.microsoft.com/office/drawing/2014/main" val="2760899765"/>
                    </a:ext>
                  </a:extLst>
                </a:gridCol>
                <a:gridCol w="1024128">
                  <a:extLst>
                    <a:ext uri="{9D8B030D-6E8A-4147-A177-3AD203B41FA5}">
                      <a16:colId xmlns:a16="http://schemas.microsoft.com/office/drawing/2014/main" val="573982583"/>
                    </a:ext>
                  </a:extLst>
                </a:gridCol>
                <a:gridCol w="859723">
                  <a:extLst>
                    <a:ext uri="{9D8B030D-6E8A-4147-A177-3AD203B41FA5}">
                      <a16:colId xmlns:a16="http://schemas.microsoft.com/office/drawing/2014/main" val="1680208994"/>
                    </a:ext>
                  </a:extLst>
                </a:gridCol>
              </a:tblGrid>
              <a:tr h="403856">
                <a:tc>
                  <a:txBody>
                    <a:bodyPr/>
                    <a:lstStyle/>
                    <a:p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ssigned To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ctivated Dat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Target Dat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7480"/>
                  </a:ext>
                </a:extLst>
              </a:tr>
              <a:tr h="235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2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924428"/>
                  </a:ext>
                </a:extLst>
              </a:tr>
              <a:tr h="235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2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289962"/>
                  </a:ext>
                </a:extLst>
              </a:tr>
              <a:tr h="235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2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198759"/>
                  </a:ext>
                </a:extLst>
              </a:tr>
              <a:tr h="2291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2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31-22</a:t>
                      </a:r>
                      <a:endParaRPr lang="en-NZ" sz="10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764071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5D94F48-83C9-4CF5-A0C4-EA828E8738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639987"/>
              </p:ext>
            </p:extLst>
          </p:nvPr>
        </p:nvGraphicFramePr>
        <p:xfrm>
          <a:off x="6360905" y="5772979"/>
          <a:ext cx="5464272" cy="105099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616840">
                  <a:extLst>
                    <a:ext uri="{9D8B030D-6E8A-4147-A177-3AD203B41FA5}">
                      <a16:colId xmlns:a16="http://schemas.microsoft.com/office/drawing/2014/main" val="1462202224"/>
                    </a:ext>
                  </a:extLst>
                </a:gridCol>
                <a:gridCol w="803564">
                  <a:extLst>
                    <a:ext uri="{9D8B030D-6E8A-4147-A177-3AD203B41FA5}">
                      <a16:colId xmlns:a16="http://schemas.microsoft.com/office/drawing/2014/main" val="1936698000"/>
                    </a:ext>
                  </a:extLst>
                </a:gridCol>
                <a:gridCol w="646546">
                  <a:extLst>
                    <a:ext uri="{9D8B030D-6E8A-4147-A177-3AD203B41FA5}">
                      <a16:colId xmlns:a16="http://schemas.microsoft.com/office/drawing/2014/main" val="3170979516"/>
                    </a:ext>
                  </a:extLst>
                </a:gridCol>
                <a:gridCol w="692727">
                  <a:extLst>
                    <a:ext uri="{9D8B030D-6E8A-4147-A177-3AD203B41FA5}">
                      <a16:colId xmlns:a16="http://schemas.microsoft.com/office/drawing/2014/main" val="1318662501"/>
                    </a:ext>
                  </a:extLst>
                </a:gridCol>
                <a:gridCol w="704595">
                  <a:extLst>
                    <a:ext uri="{9D8B030D-6E8A-4147-A177-3AD203B41FA5}">
                      <a16:colId xmlns:a16="http://schemas.microsoft.com/office/drawing/2014/main" val="3272755398"/>
                    </a:ext>
                  </a:extLst>
                </a:gridCol>
              </a:tblGrid>
              <a:tr h="387536">
                <a:tc>
                  <a:txBody>
                    <a:bodyPr/>
                    <a:lstStyle/>
                    <a:p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ssigned To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55555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  <a:p>
                      <a:pPr algn="ctr"/>
                      <a:endParaRPr lang="en-NZ" sz="10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pen Dat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1000" b="1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losed Dat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010208"/>
                  </a:ext>
                </a:extLst>
              </a:tr>
              <a:tr h="2241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pen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2834076"/>
                  </a:ext>
                </a:extLst>
              </a:tr>
              <a:tr h="2151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Z" sz="9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one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21</a:t>
                      </a:r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6431046"/>
                  </a:ext>
                </a:extLst>
              </a:tr>
              <a:tr h="2241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900" kern="120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Z" sz="9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39549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316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26" grpId="0" animBg="1"/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38669"/>
            <a:ext cx="9838944" cy="537633"/>
          </a:xfrm>
        </p:spPr>
        <p:txBody>
          <a:bodyPr/>
          <a:lstStyle/>
          <a:p>
            <a:r>
              <a:rPr lang="es-ES" sz="2400" dirty="0" err="1"/>
              <a:t>Power</a:t>
            </a:r>
            <a:r>
              <a:rPr lang="es-ES" sz="2400" dirty="0"/>
              <a:t> </a:t>
            </a:r>
            <a:r>
              <a:rPr lang="es-ES" sz="2400" dirty="0" err="1"/>
              <a:t>Platform</a:t>
            </a:r>
            <a:r>
              <a:rPr lang="es-ES" sz="2400" dirty="0"/>
              <a:t> – </a:t>
            </a:r>
            <a:r>
              <a:rPr lang="es-ES" sz="2400" dirty="0" err="1"/>
              <a:t>Estimation</a:t>
            </a:r>
            <a:r>
              <a:rPr lang="es-ES" sz="2400" dirty="0"/>
              <a:t> </a:t>
            </a:r>
            <a:r>
              <a:rPr lang="es-ES" sz="2400" dirty="0" err="1"/>
              <a:t>Process</a:t>
            </a:r>
            <a:endParaRPr lang="es-ES" sz="2400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7</a:t>
            </a:fld>
            <a:endParaRPr lang="en-US" noProof="0"/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9E589BE0-B005-466D-BB83-7B9F443F5C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9513178"/>
              </p:ext>
            </p:extLst>
          </p:nvPr>
        </p:nvGraphicFramePr>
        <p:xfrm>
          <a:off x="6096000" y="2180844"/>
          <a:ext cx="4651757" cy="3465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98AB9342-D654-4D14-A36C-F69B23F978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181300"/>
              </p:ext>
            </p:extLst>
          </p:nvPr>
        </p:nvGraphicFramePr>
        <p:xfrm>
          <a:off x="404367" y="1133856"/>
          <a:ext cx="4651757" cy="4518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FB180496-B308-4056-B678-D559CC600446}"/>
              </a:ext>
            </a:extLst>
          </p:cNvPr>
          <p:cNvSpPr txBox="1"/>
          <p:nvPr/>
        </p:nvSpPr>
        <p:spPr bwMode="gray">
          <a:xfrm>
            <a:off x="1883155" y="3154680"/>
            <a:ext cx="1399032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defPPr>
              <a:defRPr lang="de-DE"/>
            </a:defPPr>
            <a:lvl1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4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 err="1"/>
              <a:t>Power</a:t>
            </a:r>
            <a:r>
              <a:rPr lang="es-ES" dirty="0"/>
              <a:t> </a:t>
            </a:r>
            <a:r>
              <a:rPr lang="es-ES" dirty="0" err="1"/>
              <a:t>Platform</a:t>
            </a:r>
            <a:endParaRPr lang="es-ES" dirty="0"/>
          </a:p>
          <a:p>
            <a:r>
              <a:rPr lang="es-ES" dirty="0" err="1"/>
              <a:t>Feasibility</a:t>
            </a:r>
            <a:r>
              <a:rPr lang="es-ES" dirty="0"/>
              <a:t> </a:t>
            </a:r>
            <a:r>
              <a:rPr lang="es-ES" dirty="0" err="1"/>
              <a:t>Study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B530DE1-DF5E-4186-9DC3-9170D5B9FB94}"/>
              </a:ext>
            </a:extLst>
          </p:cNvPr>
          <p:cNvSpPr txBox="1"/>
          <p:nvPr/>
        </p:nvSpPr>
        <p:spPr bwMode="gray">
          <a:xfrm>
            <a:off x="6943598" y="1361950"/>
            <a:ext cx="2956560" cy="62314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s-ES" sz="1400" b="1" dirty="0" err="1">
                <a:solidFill>
                  <a:schemeClr val="bg2">
                    <a:lumMod val="75000"/>
                  </a:schemeClr>
                </a:solidFill>
              </a:rPr>
              <a:t>Power</a:t>
            </a:r>
            <a:r>
              <a:rPr lang="es-ES" sz="14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s-ES" sz="1400" b="1" dirty="0" err="1">
                <a:solidFill>
                  <a:schemeClr val="bg2">
                    <a:lumMod val="75000"/>
                  </a:schemeClr>
                </a:solidFill>
              </a:rPr>
              <a:t>Platform</a:t>
            </a:r>
            <a:endParaRPr lang="es-ES" sz="1400" b="1" dirty="0">
              <a:solidFill>
                <a:schemeClr val="bg2">
                  <a:lumMod val="75000"/>
                </a:schemeClr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s-ES" sz="1400" b="1" dirty="0" err="1">
                <a:solidFill>
                  <a:schemeClr val="bg2">
                    <a:lumMod val="75000"/>
                  </a:schemeClr>
                </a:solidFill>
              </a:rPr>
              <a:t>Effort</a:t>
            </a:r>
            <a:r>
              <a:rPr lang="es-ES" sz="1400" b="1" dirty="0">
                <a:solidFill>
                  <a:schemeClr val="bg2">
                    <a:lumMod val="75000"/>
                  </a:schemeClr>
                </a:solidFill>
              </a:rPr>
              <a:t> &amp; </a:t>
            </a:r>
            <a:r>
              <a:rPr lang="es-ES" sz="1400" b="1" dirty="0" err="1">
                <a:solidFill>
                  <a:schemeClr val="bg2">
                    <a:lumMod val="75000"/>
                  </a:schemeClr>
                </a:solidFill>
              </a:rPr>
              <a:t>Cost</a:t>
            </a:r>
            <a:r>
              <a:rPr lang="es-ES" sz="14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s-ES" sz="1400" b="1" dirty="0" err="1">
                <a:solidFill>
                  <a:schemeClr val="bg2">
                    <a:lumMod val="75000"/>
                  </a:schemeClr>
                </a:solidFill>
              </a:rPr>
              <a:t>Estimations</a:t>
            </a:r>
            <a:endParaRPr lang="es-E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Flecha: a la derecha 9">
            <a:extLst>
              <a:ext uri="{FF2B5EF4-FFF2-40B4-BE49-F238E27FC236}">
                <a16:creationId xmlns:a16="http://schemas.microsoft.com/office/drawing/2014/main" id="{32C77F1A-44F3-4BFC-8CAD-13C737EC5FDE}"/>
              </a:ext>
            </a:extLst>
          </p:cNvPr>
          <p:cNvSpPr/>
          <p:nvPr/>
        </p:nvSpPr>
        <p:spPr bwMode="gray">
          <a:xfrm>
            <a:off x="4989575" y="3429000"/>
            <a:ext cx="978408" cy="484632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s-ES" sz="1400" dirty="0" err="1"/>
          </a:p>
        </p:txBody>
      </p:sp>
    </p:spTree>
    <p:extLst>
      <p:ext uri="{BB962C8B-B14F-4D97-AF65-F5344CB8AC3E}">
        <p14:creationId xmlns:p14="http://schemas.microsoft.com/office/powerpoint/2010/main" val="4830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867F21-70B4-4741-BD0F-DF3A5ED29E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S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39F23-4967-4365-A0B5-5A0ED67D7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8</a:t>
            </a:fld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45FFC7-F028-4103-8733-9983E42A2E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240" y="1459991"/>
            <a:ext cx="8345736" cy="1642457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932CA27E-C94F-4923-B409-57AC0D70D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0" y="365125"/>
            <a:ext cx="9415021" cy="537633"/>
          </a:xfrm>
        </p:spPr>
        <p:txBody>
          <a:bodyPr/>
          <a:lstStyle/>
          <a:p>
            <a:r>
              <a:rPr lang="es-ES" sz="2000" dirty="0" err="1"/>
              <a:t>Power</a:t>
            </a:r>
            <a:r>
              <a:rPr lang="es-ES" sz="2000" dirty="0"/>
              <a:t> </a:t>
            </a:r>
            <a:r>
              <a:rPr lang="es-ES" sz="2000" dirty="0" err="1"/>
              <a:t>Platform</a:t>
            </a:r>
            <a:r>
              <a:rPr lang="es-ES" sz="2000" dirty="0"/>
              <a:t> – PowerApps </a:t>
            </a:r>
            <a:r>
              <a:rPr lang="es-ES" sz="2000" dirty="0" err="1"/>
              <a:t>Feasibility</a:t>
            </a:r>
            <a:r>
              <a:rPr lang="es-ES" sz="2000" dirty="0"/>
              <a:t> </a:t>
            </a:r>
            <a:r>
              <a:rPr lang="es-ES" sz="2000" dirty="0" err="1"/>
              <a:t>Questionnarie</a:t>
            </a:r>
            <a:r>
              <a:rPr lang="es-ES" sz="2000" dirty="0"/>
              <a:t> – </a:t>
            </a:r>
            <a:r>
              <a:rPr lang="es-ES" sz="2000" dirty="0" err="1"/>
              <a:t>Intermediate</a:t>
            </a:r>
            <a:r>
              <a:rPr lang="es-ES" sz="2000" dirty="0"/>
              <a:t> Page</a:t>
            </a:r>
          </a:p>
        </p:txBody>
      </p:sp>
    </p:spTree>
    <p:extLst>
      <p:ext uri="{BB962C8B-B14F-4D97-AF65-F5344CB8AC3E}">
        <p14:creationId xmlns:p14="http://schemas.microsoft.com/office/powerpoint/2010/main" val="344839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5CBC09-392C-4736-8B9A-AFCAF5CD3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00" y="365125"/>
            <a:ext cx="9415021" cy="537633"/>
          </a:xfrm>
        </p:spPr>
        <p:txBody>
          <a:bodyPr/>
          <a:lstStyle/>
          <a:p>
            <a:r>
              <a:rPr lang="es-ES" sz="2000" dirty="0" err="1"/>
              <a:t>Power</a:t>
            </a:r>
            <a:r>
              <a:rPr lang="es-ES" sz="2000" dirty="0"/>
              <a:t> </a:t>
            </a:r>
            <a:r>
              <a:rPr lang="es-ES" sz="2000" dirty="0" err="1"/>
              <a:t>Platform</a:t>
            </a:r>
            <a:r>
              <a:rPr lang="es-ES" sz="2000" dirty="0"/>
              <a:t> – </a:t>
            </a:r>
            <a:r>
              <a:rPr lang="es-ES" sz="2000" dirty="0" err="1"/>
              <a:t>Power</a:t>
            </a:r>
            <a:r>
              <a:rPr lang="es-ES" sz="2000" dirty="0"/>
              <a:t> App </a:t>
            </a:r>
            <a:r>
              <a:rPr lang="es-ES" sz="2000" dirty="0" err="1"/>
              <a:t>Feasibility</a:t>
            </a:r>
            <a:r>
              <a:rPr lang="es-ES" sz="2000" dirty="0"/>
              <a:t> </a:t>
            </a:r>
            <a:r>
              <a:rPr lang="es-ES" sz="2000" dirty="0" err="1"/>
              <a:t>Questionnarie</a:t>
            </a:r>
            <a:r>
              <a:rPr lang="es-ES" sz="2000" dirty="0"/>
              <a:t> – Final Page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A92B4-40F0-4C8F-A2C7-5667E7109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5063" y="6492874"/>
            <a:ext cx="4183009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555555"/>
                </a:solidFill>
              </a:rPr>
              <a:t>DEKRA Global Delivery Centr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9546FE-3041-49F6-98FA-AA26F89CE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B22056C4-8D78-49D8-9323-2895F3AC0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920" y="902758"/>
            <a:ext cx="10109209" cy="332398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Questions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(Yes </a:t>
            </a:r>
            <a:r>
              <a:rPr kumimoji="0" lang="es-ES" altLang="es-ES" b="1" i="0" u="sng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r</a:t>
            </a:r>
            <a:r>
              <a:rPr kumimoji="0" lang="es-ES" altLang="es-ES" b="1" i="0" u="sng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No)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1. 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Performance a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key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f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spect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f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mplementatio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2. Do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need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specific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latform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devic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feature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(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.g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.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obil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,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ablets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ect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.)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3. Do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requir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offline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capabilitie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4. Do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requir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ntegratio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with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the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nternal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xternal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system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5. Do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requir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xternal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sharing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with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eopl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utsid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rganizatio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6. Do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hav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a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unlimited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budged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(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e.g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. mor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a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20K)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7. 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Doe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pplicatio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requires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high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complexity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(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.g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.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high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#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ransaction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,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complex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rocessing,etc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.)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8. 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mount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f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data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o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be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rocessed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very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large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? (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e.g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.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bigge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a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500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row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in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Excel)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9. Are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lanning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ublish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ny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nformatio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nto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Wi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Store, Apps Store,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Google Play? 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10. 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Would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need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o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use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ttachments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other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0" i="0" u="none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an</a:t>
            </a:r>
            <a:r>
              <a:rPr kumimoji="0" lang="es-ES" altLang="es-ES" b="0" i="0" u="none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SharePoint? </a:t>
            </a: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</a:rPr>
              <a:t>w</a:t>
            </a:r>
            <a:endParaRPr kumimoji="0" lang="es-ES" altLang="es-ES" sz="9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BDBAF328-E687-4AA9-B41C-8C66F1EAE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920" y="4400101"/>
            <a:ext cx="9760418" cy="13849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1740" tIns="0" rIns="317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f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total “Yes”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nswers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&gt; 90%,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then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display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an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informative</a:t>
            </a:r>
            <a:r>
              <a:rPr kumimoji="0" lang="es-ES" altLang="es-ES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i="0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essage</a:t>
            </a:r>
            <a:r>
              <a:rPr kumimoji="0" lang="es-ES" altLang="es-ES" b="1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: 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“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Congratulations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,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your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demand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request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may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be a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good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candidate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for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a Microsoft </a:t>
            </a:r>
            <a:r>
              <a:rPr kumimoji="0" lang="es-ES" altLang="es-ES" b="1" strike="noStrike" cap="none" normalizeH="0" baseline="0" dirty="0" err="1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Power</a:t>
            </a:r>
            <a:r>
              <a:rPr kumimoji="0" lang="es-ES" altLang="es-ES" b="1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latin typeface="+mj-lt"/>
              </a:rPr>
              <a:t> App”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Else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display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an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informative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dirty="0" err="1">
                <a:solidFill>
                  <a:srgbClr val="404040"/>
                </a:solidFill>
                <a:latin typeface="+mj-lt"/>
              </a:rPr>
              <a:t>message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: “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Sorry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but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your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demand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request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can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not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be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fulfilled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with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a Microsoft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Power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App</a:t>
            </a:r>
            <a:r>
              <a:rPr lang="es-ES" altLang="es-ES" dirty="0">
                <a:solidFill>
                  <a:srgbClr val="404040"/>
                </a:solidFill>
                <a:latin typeface="+mj-lt"/>
              </a:rPr>
              <a:t>”.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If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requested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,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the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Delivery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Center can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provide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an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estimation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using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another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Microsoft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stack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 </a:t>
            </a:r>
            <a:r>
              <a:rPr lang="es-ES" altLang="es-ES" b="1" dirty="0" err="1">
                <a:solidFill>
                  <a:srgbClr val="404040"/>
                </a:solidFill>
                <a:latin typeface="+mj-lt"/>
              </a:rPr>
              <a:t>solution</a:t>
            </a:r>
            <a:r>
              <a:rPr lang="es-ES" altLang="es-ES" b="1" dirty="0">
                <a:solidFill>
                  <a:srgbClr val="404040"/>
                </a:solidFill>
                <a:latin typeface="+mj-lt"/>
              </a:rPr>
              <a:t>.</a:t>
            </a:r>
            <a:endParaRPr kumimoji="0" lang="es-ES" altLang="es-ES" b="1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5182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9Lu7rq.nsY9b2eH8O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rEtJcK646lRT4owLf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iPLATFORM_DEKRA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08E22ABF49E74983BDFB11EA5F0401" ma:contentTypeVersion="14" ma:contentTypeDescription="Ein neues Dokument erstellen." ma:contentTypeScope="" ma:versionID="9f48c98d48b7b8f5a73298f9ccba683b">
  <xsd:schema xmlns:xsd="http://www.w3.org/2001/XMLSchema" xmlns:xs="http://www.w3.org/2001/XMLSchema" xmlns:p="http://schemas.microsoft.com/office/2006/metadata/properties" xmlns:ns3="8d90d297-3b75-4383-b0e9-3d4bafe1a457" xmlns:ns4="c3520d2a-b8bf-49e5-901a-e07a5d22d3b4" targetNamespace="http://schemas.microsoft.com/office/2006/metadata/properties" ma:root="true" ma:fieldsID="85c85d3be5819726f09a47022564b13b" ns3:_="" ns4:_="">
    <xsd:import namespace="8d90d297-3b75-4383-b0e9-3d4bafe1a457"/>
    <xsd:import namespace="c3520d2a-b8bf-49e5-901a-e07a5d22d3b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LengthInSecond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0d297-3b75-4383-b0e9-3d4bafe1a4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520d2a-b8bf-49e5-901a-e07a5d22d3b4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5F34C2-6A3E-4722-BC27-AE03AB825E34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8d90d297-3b75-4383-b0e9-3d4bafe1a457"/>
    <ds:schemaRef ds:uri="http://schemas.openxmlformats.org/package/2006/metadata/core-properties"/>
    <ds:schemaRef ds:uri="c3520d2a-b8bf-49e5-901a-e07a5d22d3b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F4DB3FF-966F-4B59-9563-4CDB305018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0d297-3b75-4383-b0e9-3d4bafe1a457"/>
    <ds:schemaRef ds:uri="c3520d2a-b8bf-49e5-901a-e07a5d22d3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16DC62-59CF-40C1-93D0-F93CBCA56AA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381</TotalTime>
  <Words>2160</Words>
  <Application>Microsoft Office PowerPoint</Application>
  <PresentationFormat>Widescreen</PresentationFormat>
  <Paragraphs>941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rial</vt:lpstr>
      <vt:lpstr>Arial Narrow</vt:lpstr>
      <vt:lpstr>Calibri</vt:lpstr>
      <vt:lpstr>Symbol</vt:lpstr>
      <vt:lpstr>Wingdings</vt:lpstr>
      <vt:lpstr>iPLATFORM_DEKRA</vt:lpstr>
      <vt:lpstr>1_iPLATFORM_DEKRA</vt:lpstr>
      <vt:lpstr>2_iPLATFORM_DEKRA</vt:lpstr>
      <vt:lpstr>3_iPLATFORM_DEKRA</vt:lpstr>
      <vt:lpstr>4_iPLATFORM_DEKRA</vt:lpstr>
      <vt:lpstr>5_iPLATFORM_DEKRA</vt:lpstr>
      <vt:lpstr>6_iPLATFORM_DEKRA</vt:lpstr>
      <vt:lpstr>think-cell Slide</vt:lpstr>
      <vt:lpstr>Worksheet</vt:lpstr>
      <vt:lpstr>PowerPoint Presentation</vt:lpstr>
      <vt:lpstr>| EMEA Delivery Centre Governance (with instructions)</vt:lpstr>
      <vt:lpstr>| EMEA Delivery Centre Governance</vt:lpstr>
      <vt:lpstr>Power Apps – Features Required</vt:lpstr>
      <vt:lpstr>Project / Team Status Report – Intermediate Page</vt:lpstr>
      <vt:lpstr>Project / Team Status Report – Final Page</vt:lpstr>
      <vt:lpstr>Power Platform – Estimation Process</vt:lpstr>
      <vt:lpstr>Power Platform – PowerApps Feasibility Questionnarie – Intermediate Page</vt:lpstr>
      <vt:lpstr>Power Platform – Power App Feasibility Questionnarie – Final Page</vt:lpstr>
      <vt:lpstr>Power Platform – Other Microsoft Feasibility Questionnarie – Intermediate Page</vt:lpstr>
      <vt:lpstr>Power Platform – Other Microsoft Feasibility Questionnarie – Final Page</vt:lpstr>
      <vt:lpstr>Power Platform–Effort Estimation Tool – Intermediate Page </vt:lpstr>
      <vt:lpstr>Power Platform–Effort Estimation Tool – Final Pages</vt:lpstr>
      <vt:lpstr>Power Platform– Vendor &amp; Profiles Information – Intermediate Page</vt:lpstr>
      <vt:lpstr>Power Platform– Vendor &amp; Profiles Information – Final Page</vt:lpstr>
      <vt:lpstr>Power Platform – Cost Estimation Per Vendor – Intermediate Page</vt:lpstr>
      <vt:lpstr>Power Platform – Cost Estimation Per Vendor and PERT Estimation Tool</vt:lpstr>
      <vt:lpstr>Power Platform – Cost Estimation Per Vendor and UseCases Estimation Tool</vt:lpstr>
      <vt:lpstr>Power Platform – Cost Estimation Per Vendor and AgileEpics Estimation Tool</vt:lpstr>
      <vt:lpstr>Power Platform - Delivery Centre – Skills Resource Matrix</vt:lpstr>
      <vt:lpstr>Power Platform - Delivery Centre – Licensing Information</vt:lpstr>
      <vt:lpstr>Questions and Answ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form Strategy</dc:title>
  <dc:creator>Lisa Jung</dc:creator>
  <cp:lastModifiedBy>Elisa Annete Chacón Soto</cp:lastModifiedBy>
  <cp:revision>454</cp:revision>
  <cp:lastPrinted>2020-03-09T08:40:49Z</cp:lastPrinted>
  <dcterms:created xsi:type="dcterms:W3CDTF">2018-09-10T13:30:03Z</dcterms:created>
  <dcterms:modified xsi:type="dcterms:W3CDTF">2022-10-11T14:2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495579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D7.1.14</vt:lpwstr>
  </property>
  <property fmtid="{D5CDD505-2E9C-101B-9397-08002B2CF9AE}" pid="5" name="ContentTypeId">
    <vt:lpwstr>0x010100E708E22ABF49E74983BDFB11EA5F0401</vt:lpwstr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SIP_Label_49a16b40-a803-442a-a923-9d42e9158dd1_Enabled">
    <vt:lpwstr>true</vt:lpwstr>
  </property>
  <property fmtid="{D5CDD505-2E9C-101B-9397-08002B2CF9AE}" pid="11" name="MSIP_Label_49a16b40-a803-442a-a923-9d42e9158dd1_SetDate">
    <vt:lpwstr>2021-10-19T10:41:48Z</vt:lpwstr>
  </property>
  <property fmtid="{D5CDD505-2E9C-101B-9397-08002B2CF9AE}" pid="12" name="MSIP_Label_49a16b40-a803-442a-a923-9d42e9158dd1_Method">
    <vt:lpwstr>Privileged</vt:lpwstr>
  </property>
  <property fmtid="{D5CDD505-2E9C-101B-9397-08002B2CF9AE}" pid="13" name="MSIP_Label_49a16b40-a803-442a-a923-9d42e9158dd1_Name">
    <vt:lpwstr>Internal</vt:lpwstr>
  </property>
  <property fmtid="{D5CDD505-2E9C-101B-9397-08002B2CF9AE}" pid="14" name="MSIP_Label_49a16b40-a803-442a-a923-9d42e9158dd1_SiteId">
    <vt:lpwstr>cf81581f-cf8c-405d-97e3-34a295c8d882</vt:lpwstr>
  </property>
  <property fmtid="{D5CDD505-2E9C-101B-9397-08002B2CF9AE}" pid="15" name="MSIP_Label_49a16b40-a803-442a-a923-9d42e9158dd1_ActionId">
    <vt:lpwstr>0f3f4661-230c-4e41-bcff-2c7417f5a8c4</vt:lpwstr>
  </property>
  <property fmtid="{D5CDD505-2E9C-101B-9397-08002B2CF9AE}" pid="16" name="MSIP_Label_49a16b40-a803-442a-a923-9d42e9158dd1_ContentBits">
    <vt:lpwstr>0</vt:lpwstr>
  </property>
</Properties>
</file>